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4"/>
  </p:sldMasterIdLst>
  <p:notesMasterIdLst>
    <p:notesMasterId r:id="rId16"/>
  </p:notesMasterIdLst>
  <p:handoutMasterIdLst>
    <p:handoutMasterId r:id="rId17"/>
  </p:handoutMasterIdLst>
  <p:sldIdLst>
    <p:sldId id="275" r:id="rId5"/>
    <p:sldId id="298" r:id="rId6"/>
    <p:sldId id="293" r:id="rId7"/>
    <p:sldId id="295" r:id="rId8"/>
    <p:sldId id="294" r:id="rId9"/>
    <p:sldId id="278" r:id="rId10"/>
    <p:sldId id="290" r:id="rId11"/>
    <p:sldId id="296" r:id="rId12"/>
    <p:sldId id="283" r:id="rId13"/>
    <p:sldId id="297" r:id="rId14"/>
    <p:sldId id="284" r:id="rId15"/>
  </p:sldIdLst>
  <p:sldSz cx="9144000" cy="6858000" type="screen4x3"/>
  <p:notesSz cx="6858000" cy="9144000"/>
  <p:custDataLst>
    <p:tags r:id="rId19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 + Title slide" id="{6A990C13-C719-4415-B9EE-6988213AFCE5}">
          <p14:sldIdLst>
            <p14:sldId id="275"/>
            <p14:sldId id="298"/>
            <p14:sldId id="293"/>
            <p14:sldId id="295"/>
            <p14:sldId id="294"/>
            <p14:sldId id="278"/>
            <p14:sldId id="290"/>
            <p14:sldId id="296"/>
            <p14:sldId id="283"/>
            <p14:sldId id="297"/>
            <p14:sldId id="284"/>
          </p14:sldIdLst>
        </p14:section>
        <p14:section name="Index" id="{6DD21D22-BAB8-4242-893A-B5C22E247607}">
          <p14:sldIdLst/>
        </p14:section>
        <p14:section name="Text &amp; Picture" id="{B898C80B-5D53-4F9A-B5C0-32475F444FB3}">
          <p14:sldIdLst/>
        </p14:section>
        <p14:section name="Media" id="{1B86FFC4-D6C9-4ED6-AD21-72F2871047AF}">
          <p14:sldIdLst/>
        </p14:section>
        <p14:section name="Tables &amp; Graphs" id="{B3012F12-BE31-43CC-8911-BB1FCBE1D524}">
          <p14:sldIdLst/>
        </p14:section>
        <p14:section name="Questions &amp; Closure" id="{BF5E9D6A-6470-4F4B-98B6-2E0BE069BA4C}">
          <p14:sldIdLst/>
        </p14:section>
      </p14:sectionLst>
    </p:ex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26465"/>
    <a:srgbClr val="656565"/>
    <a:srgbClr val="5E6162"/>
    <a:srgbClr val="FFFFFF"/>
    <a:srgbClr val="F3F4F1"/>
    <a:srgbClr val="F3F5F2"/>
    <a:srgbClr val="0062A9"/>
    <a:srgbClr val="3560AB"/>
    <a:srgbClr val="002154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65" autoAdjust="0"/>
    <p:restoredTop sz="85627"/>
  </p:normalViewPr>
  <p:slideViewPr>
    <p:cSldViewPr snapToGrid="0" showGuides="1">
      <p:cViewPr varScale="1">
        <p:scale>
          <a:sx n="165" d="100"/>
          <a:sy n="165" d="100"/>
        </p:scale>
        <p:origin x="-2624" y="-104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30" d="100"/>
        <a:sy n="30" d="100"/>
      </p:scale>
      <p:origin x="0" y="0"/>
    </p:cViewPr>
  </p:sorterViewPr>
  <p:notesViewPr>
    <p:cSldViewPr snapToGrid="0" showGuides="1">
      <p:cViewPr varScale="1">
        <p:scale>
          <a:sx n="87" d="100"/>
          <a:sy n="87" d="100"/>
        </p:scale>
        <p:origin x="272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notesMaster" Target="notesMasters/notesMaster1.xml"/><Relationship Id="rId17" Type="http://schemas.openxmlformats.org/officeDocument/2006/relationships/handoutMaster" Target="handoutMasters/handoutMaster1.xml"/><Relationship Id="rId18" Type="http://schemas.openxmlformats.org/officeDocument/2006/relationships/printerSettings" Target="printerSettings/printerSettings1.bin"/><Relationship Id="rId19" Type="http://schemas.openxmlformats.org/officeDocument/2006/relationships/tags" Target="tags/tag1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4232DE-8C5F-4178-AA73-5BBFA247078F}" type="datetimeFigureOut">
              <a:rPr lang="nl-NL" smtClean="0"/>
              <a:t>24/09/18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10F3A7-C9E4-4071-B2F5-015428B6B449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476737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62EBAE-29D1-4DD0-8BEB-0AC11FD72FA6}" type="datetimeFigureOut">
              <a:rPr lang="en-GB" smtClean="0"/>
              <a:t>24/09/18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5642C7-031D-4E40-B5EB-9465C999AF8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0158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31173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40138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53287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70025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29127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06151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24194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33420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93851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9891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tmp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2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13.png"/><Relationship Id="rId5" Type="http://schemas.openxmlformats.org/officeDocument/2006/relationships/oleObject" Target="../embeddings/oleObject2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7.png"/><Relationship Id="rId5" Type="http://schemas.openxmlformats.org/officeDocument/2006/relationships/image" Target="../media/image8.png"/><Relationship Id="rId6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5" Type="http://schemas.openxmlformats.org/officeDocument/2006/relationships/image" Target="../media/image10.png"/><Relationship Id="rId6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5" Type="http://schemas.openxmlformats.org/officeDocument/2006/relationships/image" Target="../media/image10.png"/><Relationship Id="rId6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5" Type="http://schemas.openxmlformats.org/officeDocument/2006/relationships/image" Target="../media/image10.png"/><Relationship Id="rId6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5" Type="http://schemas.openxmlformats.org/officeDocument/2006/relationships/image" Target="../media/image10.png"/><Relationship Id="rId6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5" Type="http://schemas.openxmlformats.org/officeDocument/2006/relationships/image" Target="../media/image10.png"/><Relationship Id="rId6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png"/><Relationship Id="rId3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 noProof="0" dirty="0"/>
          </a:p>
        </p:txBody>
      </p:sp>
      <p:sp>
        <p:nvSpPr>
          <p:cNvPr id="8" name="Tekstvak 7"/>
          <p:cNvSpPr txBox="1"/>
          <p:nvPr userDrawn="1"/>
        </p:nvSpPr>
        <p:spPr>
          <a:xfrm>
            <a:off x="6972300" y="-520700"/>
            <a:ext cx="2171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l-NL" sz="1800" dirty="0">
                <a:solidFill>
                  <a:srgbClr val="656565"/>
                </a:solidFill>
              </a:rPr>
              <a:t>First slide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 dirty="0"/>
              <a:t>© Copyright SIDN | 2016</a:t>
            </a:r>
          </a:p>
        </p:txBody>
      </p:sp>
      <p:grpSp>
        <p:nvGrpSpPr>
          <p:cNvPr id="11" name="Groep 10"/>
          <p:cNvGrpSpPr/>
          <p:nvPr userDrawn="1"/>
        </p:nvGrpSpPr>
        <p:grpSpPr>
          <a:xfrm>
            <a:off x="671398" y="2210656"/>
            <a:ext cx="7656064" cy="2252487"/>
            <a:chOff x="424899" y="1630344"/>
            <a:chExt cx="10846785" cy="3191228"/>
          </a:xfrm>
        </p:grpSpPr>
        <p:pic>
          <p:nvPicPr>
            <p:cNvPr id="12" name="Afbeelding 11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424899" y="1630344"/>
              <a:ext cx="4274557" cy="3191228"/>
            </a:xfrm>
            <a:prstGeom prst="rect">
              <a:avLst/>
            </a:prstGeom>
          </p:spPr>
        </p:pic>
        <p:pic>
          <p:nvPicPr>
            <p:cNvPr id="13" name="Afbeelding 3" descr="Schermopname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09930" y="2666385"/>
              <a:ext cx="6761754" cy="10370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38595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4197" y="377838"/>
            <a:ext cx="8455610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enter title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5238750" y="-520700"/>
            <a:ext cx="3905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sz="1800" baseline="0" dirty="0"/>
              <a:t>Media (100%)</a:t>
            </a:r>
            <a:endParaRPr lang="nl-NL" sz="1800" dirty="0"/>
          </a:p>
        </p:txBody>
      </p:sp>
      <p:sp>
        <p:nvSpPr>
          <p:cNvPr id="85" name="Tijdelijke aanduiding voor media 12"/>
          <p:cNvSpPr>
            <a:spLocks noGrp="1"/>
          </p:cNvSpPr>
          <p:nvPr>
            <p:ph type="media" sz="quarter" idx="14"/>
          </p:nvPr>
        </p:nvSpPr>
        <p:spPr>
          <a:xfrm>
            <a:off x="344195" y="1092201"/>
            <a:ext cx="8456400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endParaRPr lang="en-GB" noProof="0" dirty="0"/>
          </a:p>
        </p:txBody>
      </p:sp>
      <p:grpSp>
        <p:nvGrpSpPr>
          <p:cNvPr id="82" name="Instruction video"/>
          <p:cNvGrpSpPr/>
          <p:nvPr userDrawn="1"/>
        </p:nvGrpSpPr>
        <p:grpSpPr>
          <a:xfrm>
            <a:off x="9832607" y="18567"/>
            <a:ext cx="2733484" cy="6868888"/>
            <a:chOff x="12346582" y="-5444"/>
            <a:chExt cx="2733484" cy="6868888"/>
          </a:xfrm>
        </p:grpSpPr>
        <p:grpSp>
          <p:nvGrpSpPr>
            <p:cNvPr id="84" name="Video icoon"/>
            <p:cNvGrpSpPr/>
            <p:nvPr/>
          </p:nvGrpSpPr>
          <p:grpSpPr>
            <a:xfrm>
              <a:off x="12484900" y="1490716"/>
              <a:ext cx="510875" cy="521956"/>
              <a:chOff x="10510560" y="2589326"/>
              <a:chExt cx="939297" cy="959670"/>
            </a:xfrm>
          </p:grpSpPr>
          <p:sp>
            <p:nvSpPr>
              <p:cNvPr id="111" name="Ovaal 110"/>
              <p:cNvSpPr/>
              <p:nvPr userDrawn="1"/>
            </p:nvSpPr>
            <p:spPr>
              <a:xfrm>
                <a:off x="10565049" y="2589326"/>
                <a:ext cx="769780" cy="769780"/>
              </a:xfrm>
              <a:prstGeom prst="ellipse">
                <a:avLst/>
              </a:prstGeom>
              <a:gradFill flip="none" rotWithShape="1">
                <a:gsLst>
                  <a:gs pos="53000">
                    <a:srgbClr val="1D1D1B">
                      <a:lumMod val="25000"/>
                      <a:lumOff val="75000"/>
                    </a:srgbClr>
                  </a:gs>
                  <a:gs pos="100000">
                    <a:srgbClr val="1D1D1B">
                      <a:lumMod val="50000"/>
                      <a:lumOff val="50000"/>
                    </a:srgbClr>
                  </a:gs>
                </a:gsLst>
                <a:lin ang="8100000" scaled="1"/>
                <a:tileRect/>
              </a:gradFill>
              <a:ln w="19050" cap="flat" cmpd="sng" algn="ctr">
                <a:solidFill>
                  <a:srgbClr val="FFFFFF">
                    <a:lumMod val="50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  <p:sp>
            <p:nvSpPr>
              <p:cNvPr id="112" name="Ovaal 111"/>
              <p:cNvSpPr/>
              <p:nvPr userDrawn="1"/>
            </p:nvSpPr>
            <p:spPr>
              <a:xfrm>
                <a:off x="10646722" y="2589326"/>
                <a:ext cx="769780" cy="769780"/>
              </a:xfrm>
              <a:prstGeom prst="ellipse">
                <a:avLst/>
              </a:prstGeom>
              <a:gradFill>
                <a:gsLst>
                  <a:gs pos="0">
                    <a:srgbClr val="1D1D1B">
                      <a:lumMod val="10000"/>
                      <a:lumOff val="90000"/>
                    </a:srgbClr>
                  </a:gs>
                  <a:gs pos="100000">
                    <a:srgbClr val="1D1D1B">
                      <a:lumMod val="25000"/>
                      <a:lumOff val="75000"/>
                    </a:srgbClr>
                  </a:gs>
                </a:gsLst>
                <a:lin ang="8100000" scaled="1"/>
              </a:gradFill>
              <a:ln w="19050" cap="flat" cmpd="sng" algn="ctr">
                <a:solidFill>
                  <a:srgbClr val="FFFFFF">
                    <a:lumMod val="50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  <p:grpSp>
            <p:nvGrpSpPr>
              <p:cNvPr id="113" name="Groep 112"/>
              <p:cNvGrpSpPr/>
              <p:nvPr userDrawn="1"/>
            </p:nvGrpSpPr>
            <p:grpSpPr>
              <a:xfrm>
                <a:off x="10704223" y="2644466"/>
                <a:ext cx="655000" cy="631020"/>
                <a:chOff x="10707687" y="2647930"/>
                <a:chExt cx="655000" cy="631020"/>
              </a:xfrm>
            </p:grpSpPr>
            <p:sp>
              <p:nvSpPr>
                <p:cNvPr id="116" name="Ovaal 115"/>
                <p:cNvSpPr/>
                <p:nvPr userDrawn="1"/>
              </p:nvSpPr>
              <p:spPr>
                <a:xfrm>
                  <a:off x="10923711" y="2647930"/>
                  <a:ext cx="216024" cy="216024"/>
                </a:xfrm>
                <a:prstGeom prst="ellipse">
                  <a:avLst/>
                </a:prstGeom>
                <a:gradFill flip="none" rotWithShape="1">
                  <a:gsLst>
                    <a:gs pos="9000">
                      <a:srgbClr val="1D1D1B">
                        <a:lumMod val="25000"/>
                        <a:lumOff val="75000"/>
                      </a:srgbClr>
                    </a:gs>
                    <a:gs pos="100000">
                      <a:srgbClr val="1D1D1B">
                        <a:lumMod val="90000"/>
                        <a:lumOff val="10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Ovaal 116"/>
                <p:cNvSpPr/>
                <p:nvPr userDrawn="1"/>
              </p:nvSpPr>
              <p:spPr>
                <a:xfrm>
                  <a:off x="10707687" y="2800330"/>
                  <a:ext cx="216024" cy="216024"/>
                </a:xfrm>
                <a:prstGeom prst="ellipse">
                  <a:avLst/>
                </a:prstGeom>
                <a:gradFill flip="none" rotWithShape="1">
                  <a:gsLst>
                    <a:gs pos="9000">
                      <a:srgbClr val="1D1D1B">
                        <a:lumMod val="25000"/>
                        <a:lumOff val="75000"/>
                      </a:srgbClr>
                    </a:gs>
                    <a:gs pos="100000">
                      <a:srgbClr val="1D1D1B">
                        <a:lumMod val="90000"/>
                        <a:lumOff val="10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Ovaal 117"/>
                <p:cNvSpPr/>
                <p:nvPr userDrawn="1"/>
              </p:nvSpPr>
              <p:spPr>
                <a:xfrm>
                  <a:off x="11146663" y="2800330"/>
                  <a:ext cx="216024" cy="216024"/>
                </a:xfrm>
                <a:prstGeom prst="ellipse">
                  <a:avLst/>
                </a:prstGeom>
                <a:gradFill flip="none" rotWithShape="1">
                  <a:gsLst>
                    <a:gs pos="9000">
                      <a:srgbClr val="1D1D1B">
                        <a:lumMod val="25000"/>
                        <a:lumOff val="75000"/>
                      </a:srgbClr>
                    </a:gs>
                    <a:gs pos="100000">
                      <a:srgbClr val="1D1D1B">
                        <a:lumMod val="90000"/>
                        <a:lumOff val="10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Ovaal 118"/>
                <p:cNvSpPr/>
                <p:nvPr userDrawn="1"/>
              </p:nvSpPr>
              <p:spPr>
                <a:xfrm>
                  <a:off x="10793802" y="3062926"/>
                  <a:ext cx="216024" cy="216024"/>
                </a:xfrm>
                <a:prstGeom prst="ellipse">
                  <a:avLst/>
                </a:prstGeom>
                <a:gradFill flip="none" rotWithShape="1">
                  <a:gsLst>
                    <a:gs pos="9000">
                      <a:srgbClr val="1D1D1B">
                        <a:lumMod val="25000"/>
                        <a:lumOff val="75000"/>
                      </a:srgbClr>
                    </a:gs>
                    <a:gs pos="100000">
                      <a:srgbClr val="1D1D1B">
                        <a:lumMod val="90000"/>
                        <a:lumOff val="10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Ovaal 119"/>
                <p:cNvSpPr/>
                <p:nvPr userDrawn="1"/>
              </p:nvSpPr>
              <p:spPr>
                <a:xfrm>
                  <a:off x="11067727" y="3062926"/>
                  <a:ext cx="216024" cy="216024"/>
                </a:xfrm>
                <a:prstGeom prst="ellipse">
                  <a:avLst/>
                </a:prstGeom>
                <a:gradFill flip="none" rotWithShape="1">
                  <a:gsLst>
                    <a:gs pos="9000">
                      <a:srgbClr val="1D1D1B">
                        <a:lumMod val="25000"/>
                        <a:lumOff val="75000"/>
                      </a:srgbClr>
                    </a:gs>
                    <a:gs pos="100000">
                      <a:srgbClr val="1D1D1B">
                        <a:lumMod val="90000"/>
                        <a:lumOff val="10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Ovaal 120"/>
                <p:cNvSpPr/>
                <p:nvPr userDrawn="1"/>
              </p:nvSpPr>
              <p:spPr>
                <a:xfrm>
                  <a:off x="10953403" y="2892430"/>
                  <a:ext cx="170496" cy="170496"/>
                </a:xfrm>
                <a:prstGeom prst="ellipse">
                  <a:avLst/>
                </a:prstGeom>
                <a:gradFill>
                  <a:gsLst>
                    <a:gs pos="0">
                      <a:srgbClr val="1D1D1B">
                        <a:lumMod val="10000"/>
                        <a:lumOff val="90000"/>
                      </a:srgbClr>
                    </a:gs>
                    <a:gs pos="100000">
                      <a:srgbClr val="1D1D1B">
                        <a:lumMod val="25000"/>
                        <a:lumOff val="75000"/>
                      </a:srgbClr>
                    </a:gs>
                  </a:gsLst>
                  <a:path path="circle">
                    <a:fillToRect l="100000" t="100000"/>
                  </a:path>
                </a:gradFill>
                <a:ln w="25400" cap="flat" cmpd="sng" algn="ctr">
                  <a:solidFill>
                    <a:srgbClr val="FFFFFF">
                      <a:lumMod val="65000"/>
                      <a:alpha val="38000"/>
                    </a:srgbClr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4" name="Rechthoek 10"/>
              <p:cNvSpPr/>
              <p:nvPr userDrawn="1"/>
            </p:nvSpPr>
            <p:spPr>
              <a:xfrm>
                <a:off x="10510560" y="3140981"/>
                <a:ext cx="939297" cy="408015"/>
              </a:xfrm>
              <a:custGeom>
                <a:avLst/>
                <a:gdLst>
                  <a:gd name="connsiteX0" fmla="*/ 0 w 1129820"/>
                  <a:gd name="connsiteY0" fmla="*/ 0 h 386313"/>
                  <a:gd name="connsiteX1" fmla="*/ 1129820 w 1129820"/>
                  <a:gd name="connsiteY1" fmla="*/ 0 h 386313"/>
                  <a:gd name="connsiteX2" fmla="*/ 1129820 w 1129820"/>
                  <a:gd name="connsiteY2" fmla="*/ 386313 h 386313"/>
                  <a:gd name="connsiteX3" fmla="*/ 0 w 1129820"/>
                  <a:gd name="connsiteY3" fmla="*/ 386313 h 386313"/>
                  <a:gd name="connsiteX4" fmla="*/ 0 w 1129820"/>
                  <a:gd name="connsiteY4" fmla="*/ 0 h 386313"/>
                  <a:gd name="connsiteX0" fmla="*/ 145473 w 1129820"/>
                  <a:gd name="connsiteY0" fmla="*/ 0 h 427876"/>
                  <a:gd name="connsiteX1" fmla="*/ 1129820 w 1129820"/>
                  <a:gd name="connsiteY1" fmla="*/ 41563 h 427876"/>
                  <a:gd name="connsiteX2" fmla="*/ 1129820 w 1129820"/>
                  <a:gd name="connsiteY2" fmla="*/ 427876 h 427876"/>
                  <a:gd name="connsiteX3" fmla="*/ 0 w 1129820"/>
                  <a:gd name="connsiteY3" fmla="*/ 427876 h 427876"/>
                  <a:gd name="connsiteX4" fmla="*/ 145473 w 1129820"/>
                  <a:gd name="connsiteY4" fmla="*/ 0 h 427876"/>
                  <a:gd name="connsiteX0" fmla="*/ 145473 w 1129820"/>
                  <a:gd name="connsiteY0" fmla="*/ 0 h 427876"/>
                  <a:gd name="connsiteX1" fmla="*/ 1129820 w 1129820"/>
                  <a:gd name="connsiteY1" fmla="*/ 41563 h 427876"/>
                  <a:gd name="connsiteX2" fmla="*/ 1129820 w 1129820"/>
                  <a:gd name="connsiteY2" fmla="*/ 427876 h 427876"/>
                  <a:gd name="connsiteX3" fmla="*/ 0 w 1129820"/>
                  <a:gd name="connsiteY3" fmla="*/ 427876 h 427876"/>
                  <a:gd name="connsiteX4" fmla="*/ 145473 w 1129820"/>
                  <a:gd name="connsiteY4" fmla="*/ 0 h 427876"/>
                  <a:gd name="connsiteX0" fmla="*/ 33864 w 1018211"/>
                  <a:gd name="connsiteY0" fmla="*/ 0 h 427876"/>
                  <a:gd name="connsiteX1" fmla="*/ 1018211 w 1018211"/>
                  <a:gd name="connsiteY1" fmla="*/ 41563 h 427876"/>
                  <a:gd name="connsiteX2" fmla="*/ 1018211 w 1018211"/>
                  <a:gd name="connsiteY2" fmla="*/ 427876 h 427876"/>
                  <a:gd name="connsiteX3" fmla="*/ 151628 w 1018211"/>
                  <a:gd name="connsiteY3" fmla="*/ 310112 h 427876"/>
                  <a:gd name="connsiteX4" fmla="*/ 33864 w 1018211"/>
                  <a:gd name="connsiteY4" fmla="*/ 0 h 427876"/>
                  <a:gd name="connsiteX0" fmla="*/ 100890 w 1085237"/>
                  <a:gd name="connsiteY0" fmla="*/ 0 h 427876"/>
                  <a:gd name="connsiteX1" fmla="*/ 1085237 w 1085237"/>
                  <a:gd name="connsiteY1" fmla="*/ 41563 h 427876"/>
                  <a:gd name="connsiteX2" fmla="*/ 1085237 w 1085237"/>
                  <a:gd name="connsiteY2" fmla="*/ 427876 h 427876"/>
                  <a:gd name="connsiteX3" fmla="*/ 218654 w 1085237"/>
                  <a:gd name="connsiteY3" fmla="*/ 310112 h 427876"/>
                  <a:gd name="connsiteX4" fmla="*/ 100890 w 1085237"/>
                  <a:gd name="connsiteY4" fmla="*/ 0 h 427876"/>
                  <a:gd name="connsiteX0" fmla="*/ 103919 w 1081338"/>
                  <a:gd name="connsiteY0" fmla="*/ 0 h 448658"/>
                  <a:gd name="connsiteX1" fmla="*/ 1081338 w 1081338"/>
                  <a:gd name="connsiteY1" fmla="*/ 62345 h 448658"/>
                  <a:gd name="connsiteX2" fmla="*/ 1081338 w 1081338"/>
                  <a:gd name="connsiteY2" fmla="*/ 448658 h 448658"/>
                  <a:gd name="connsiteX3" fmla="*/ 214755 w 1081338"/>
                  <a:gd name="connsiteY3" fmla="*/ 330894 h 448658"/>
                  <a:gd name="connsiteX4" fmla="*/ 103919 w 1081338"/>
                  <a:gd name="connsiteY4" fmla="*/ 0 h 448658"/>
                  <a:gd name="connsiteX0" fmla="*/ 123695 w 1101114"/>
                  <a:gd name="connsiteY0" fmla="*/ 0 h 448658"/>
                  <a:gd name="connsiteX1" fmla="*/ 1101114 w 1101114"/>
                  <a:gd name="connsiteY1" fmla="*/ 62345 h 448658"/>
                  <a:gd name="connsiteX2" fmla="*/ 1101114 w 1101114"/>
                  <a:gd name="connsiteY2" fmla="*/ 448658 h 448658"/>
                  <a:gd name="connsiteX3" fmla="*/ 234531 w 1101114"/>
                  <a:gd name="connsiteY3" fmla="*/ 330894 h 448658"/>
                  <a:gd name="connsiteX4" fmla="*/ 123695 w 1101114"/>
                  <a:gd name="connsiteY4" fmla="*/ 0 h 448658"/>
                  <a:gd name="connsiteX0" fmla="*/ 123695 w 1101114"/>
                  <a:gd name="connsiteY0" fmla="*/ 0 h 448658"/>
                  <a:gd name="connsiteX1" fmla="*/ 1101114 w 1101114"/>
                  <a:gd name="connsiteY1" fmla="*/ 62345 h 448658"/>
                  <a:gd name="connsiteX2" fmla="*/ 1101114 w 1101114"/>
                  <a:gd name="connsiteY2" fmla="*/ 448658 h 448658"/>
                  <a:gd name="connsiteX3" fmla="*/ 403939 w 1101114"/>
                  <a:gd name="connsiteY3" fmla="*/ 175382 h 448658"/>
                  <a:gd name="connsiteX4" fmla="*/ 234531 w 1101114"/>
                  <a:gd name="connsiteY4" fmla="*/ 330894 h 448658"/>
                  <a:gd name="connsiteX5" fmla="*/ 123695 w 1101114"/>
                  <a:gd name="connsiteY5" fmla="*/ 0 h 448658"/>
                  <a:gd name="connsiteX0" fmla="*/ 123695 w 1101114"/>
                  <a:gd name="connsiteY0" fmla="*/ 4727 h 453385"/>
                  <a:gd name="connsiteX1" fmla="*/ 1101114 w 1101114"/>
                  <a:gd name="connsiteY1" fmla="*/ 67072 h 453385"/>
                  <a:gd name="connsiteX2" fmla="*/ 1101114 w 1101114"/>
                  <a:gd name="connsiteY2" fmla="*/ 453385 h 453385"/>
                  <a:gd name="connsiteX3" fmla="*/ 577120 w 1101114"/>
                  <a:gd name="connsiteY3" fmla="*/ 0 h 453385"/>
                  <a:gd name="connsiteX4" fmla="*/ 234531 w 1101114"/>
                  <a:gd name="connsiteY4" fmla="*/ 335621 h 453385"/>
                  <a:gd name="connsiteX5" fmla="*/ 123695 w 1101114"/>
                  <a:gd name="connsiteY5" fmla="*/ 4727 h 453385"/>
                  <a:gd name="connsiteX0" fmla="*/ 123695 w 1101114"/>
                  <a:gd name="connsiteY0" fmla="*/ 4727 h 453385"/>
                  <a:gd name="connsiteX1" fmla="*/ 1101114 w 1101114"/>
                  <a:gd name="connsiteY1" fmla="*/ 67072 h 453385"/>
                  <a:gd name="connsiteX2" fmla="*/ 1101114 w 1101114"/>
                  <a:gd name="connsiteY2" fmla="*/ 453385 h 453385"/>
                  <a:gd name="connsiteX3" fmla="*/ 577120 w 1101114"/>
                  <a:gd name="connsiteY3" fmla="*/ 0 h 453385"/>
                  <a:gd name="connsiteX4" fmla="*/ 234531 w 1101114"/>
                  <a:gd name="connsiteY4" fmla="*/ 335621 h 453385"/>
                  <a:gd name="connsiteX5" fmla="*/ 123695 w 1101114"/>
                  <a:gd name="connsiteY5" fmla="*/ 4727 h 453385"/>
                  <a:gd name="connsiteX0" fmla="*/ 123695 w 1101114"/>
                  <a:gd name="connsiteY0" fmla="*/ 11654 h 460312"/>
                  <a:gd name="connsiteX1" fmla="*/ 1101114 w 1101114"/>
                  <a:gd name="connsiteY1" fmla="*/ 73999 h 460312"/>
                  <a:gd name="connsiteX2" fmla="*/ 1101114 w 1101114"/>
                  <a:gd name="connsiteY2" fmla="*/ 460312 h 460312"/>
                  <a:gd name="connsiteX3" fmla="*/ 604829 w 1101114"/>
                  <a:gd name="connsiteY3" fmla="*/ 0 h 460312"/>
                  <a:gd name="connsiteX4" fmla="*/ 234531 w 1101114"/>
                  <a:gd name="connsiteY4" fmla="*/ 342548 h 460312"/>
                  <a:gd name="connsiteX5" fmla="*/ 123695 w 1101114"/>
                  <a:gd name="connsiteY5" fmla="*/ 11654 h 460312"/>
                  <a:gd name="connsiteX0" fmla="*/ 123695 w 1101114"/>
                  <a:gd name="connsiteY0" fmla="*/ 11654 h 460312"/>
                  <a:gd name="connsiteX1" fmla="*/ 1101114 w 1101114"/>
                  <a:gd name="connsiteY1" fmla="*/ 73999 h 460312"/>
                  <a:gd name="connsiteX2" fmla="*/ 1101114 w 1101114"/>
                  <a:gd name="connsiteY2" fmla="*/ 460312 h 460312"/>
                  <a:gd name="connsiteX3" fmla="*/ 604829 w 1101114"/>
                  <a:gd name="connsiteY3" fmla="*/ 0 h 460312"/>
                  <a:gd name="connsiteX4" fmla="*/ 234531 w 1101114"/>
                  <a:gd name="connsiteY4" fmla="*/ 342548 h 460312"/>
                  <a:gd name="connsiteX5" fmla="*/ 123695 w 1101114"/>
                  <a:gd name="connsiteY5" fmla="*/ 11654 h 460312"/>
                  <a:gd name="connsiteX0" fmla="*/ 123695 w 1101114"/>
                  <a:gd name="connsiteY0" fmla="*/ 11654 h 460312"/>
                  <a:gd name="connsiteX1" fmla="*/ 1101114 w 1101114"/>
                  <a:gd name="connsiteY1" fmla="*/ 73999 h 460312"/>
                  <a:gd name="connsiteX2" fmla="*/ 1101114 w 1101114"/>
                  <a:gd name="connsiteY2" fmla="*/ 460312 h 460312"/>
                  <a:gd name="connsiteX3" fmla="*/ 604829 w 1101114"/>
                  <a:gd name="connsiteY3" fmla="*/ 0 h 460312"/>
                  <a:gd name="connsiteX4" fmla="*/ 234531 w 1101114"/>
                  <a:gd name="connsiteY4" fmla="*/ 342548 h 460312"/>
                  <a:gd name="connsiteX5" fmla="*/ 123695 w 1101114"/>
                  <a:gd name="connsiteY5" fmla="*/ 11654 h 460312"/>
                  <a:gd name="connsiteX0" fmla="*/ 98893 w 1076312"/>
                  <a:gd name="connsiteY0" fmla="*/ 11654 h 460312"/>
                  <a:gd name="connsiteX1" fmla="*/ 1076312 w 1076312"/>
                  <a:gd name="connsiteY1" fmla="*/ 73999 h 460312"/>
                  <a:gd name="connsiteX2" fmla="*/ 1076312 w 1076312"/>
                  <a:gd name="connsiteY2" fmla="*/ 460312 h 460312"/>
                  <a:gd name="connsiteX3" fmla="*/ 580027 w 1076312"/>
                  <a:gd name="connsiteY3" fmla="*/ 0 h 460312"/>
                  <a:gd name="connsiteX4" fmla="*/ 209729 w 1076312"/>
                  <a:gd name="connsiteY4" fmla="*/ 342548 h 460312"/>
                  <a:gd name="connsiteX5" fmla="*/ 98893 w 1076312"/>
                  <a:gd name="connsiteY5" fmla="*/ 11654 h 460312"/>
                  <a:gd name="connsiteX0" fmla="*/ 103531 w 1080950"/>
                  <a:gd name="connsiteY0" fmla="*/ 11654 h 460312"/>
                  <a:gd name="connsiteX1" fmla="*/ 1080950 w 1080950"/>
                  <a:gd name="connsiteY1" fmla="*/ 73999 h 460312"/>
                  <a:gd name="connsiteX2" fmla="*/ 1080950 w 1080950"/>
                  <a:gd name="connsiteY2" fmla="*/ 460312 h 460312"/>
                  <a:gd name="connsiteX3" fmla="*/ 584665 w 1080950"/>
                  <a:gd name="connsiteY3" fmla="*/ 0 h 460312"/>
                  <a:gd name="connsiteX4" fmla="*/ 200512 w 1080950"/>
                  <a:gd name="connsiteY4" fmla="*/ 342548 h 460312"/>
                  <a:gd name="connsiteX5" fmla="*/ 103531 w 1080950"/>
                  <a:gd name="connsiteY5" fmla="*/ 11654 h 460312"/>
                  <a:gd name="connsiteX0" fmla="*/ 103531 w 1080950"/>
                  <a:gd name="connsiteY0" fmla="*/ 11654 h 460312"/>
                  <a:gd name="connsiteX1" fmla="*/ 1080950 w 1080950"/>
                  <a:gd name="connsiteY1" fmla="*/ 73999 h 460312"/>
                  <a:gd name="connsiteX2" fmla="*/ 1080950 w 1080950"/>
                  <a:gd name="connsiteY2" fmla="*/ 460312 h 460312"/>
                  <a:gd name="connsiteX3" fmla="*/ 584665 w 1080950"/>
                  <a:gd name="connsiteY3" fmla="*/ 0 h 460312"/>
                  <a:gd name="connsiteX4" fmla="*/ 200512 w 1080950"/>
                  <a:gd name="connsiteY4" fmla="*/ 342548 h 460312"/>
                  <a:gd name="connsiteX5" fmla="*/ 103531 w 1080950"/>
                  <a:gd name="connsiteY5" fmla="*/ 11654 h 460312"/>
                  <a:gd name="connsiteX0" fmla="*/ 115967 w 1093386"/>
                  <a:gd name="connsiteY0" fmla="*/ 11654 h 460312"/>
                  <a:gd name="connsiteX1" fmla="*/ 1093386 w 1093386"/>
                  <a:gd name="connsiteY1" fmla="*/ 73999 h 460312"/>
                  <a:gd name="connsiteX2" fmla="*/ 1093386 w 1093386"/>
                  <a:gd name="connsiteY2" fmla="*/ 460312 h 460312"/>
                  <a:gd name="connsiteX3" fmla="*/ 597101 w 1093386"/>
                  <a:gd name="connsiteY3" fmla="*/ 0 h 460312"/>
                  <a:gd name="connsiteX4" fmla="*/ 212948 w 1093386"/>
                  <a:gd name="connsiteY4" fmla="*/ 342548 h 460312"/>
                  <a:gd name="connsiteX5" fmla="*/ 115967 w 1093386"/>
                  <a:gd name="connsiteY5" fmla="*/ 11654 h 460312"/>
                  <a:gd name="connsiteX0" fmla="*/ 115967 w 1093386"/>
                  <a:gd name="connsiteY0" fmla="*/ 11654 h 460312"/>
                  <a:gd name="connsiteX1" fmla="*/ 1093386 w 1093386"/>
                  <a:gd name="connsiteY1" fmla="*/ 73999 h 460312"/>
                  <a:gd name="connsiteX2" fmla="*/ 1093386 w 1093386"/>
                  <a:gd name="connsiteY2" fmla="*/ 460312 h 460312"/>
                  <a:gd name="connsiteX3" fmla="*/ 597101 w 1093386"/>
                  <a:gd name="connsiteY3" fmla="*/ 0 h 460312"/>
                  <a:gd name="connsiteX4" fmla="*/ 212948 w 1093386"/>
                  <a:gd name="connsiteY4" fmla="*/ 342548 h 460312"/>
                  <a:gd name="connsiteX5" fmla="*/ 115967 w 1093386"/>
                  <a:gd name="connsiteY5" fmla="*/ 11654 h 460312"/>
                  <a:gd name="connsiteX0" fmla="*/ 76283 w 1053702"/>
                  <a:gd name="connsiteY0" fmla="*/ 32436 h 481094"/>
                  <a:gd name="connsiteX1" fmla="*/ 1053702 w 1053702"/>
                  <a:gd name="connsiteY1" fmla="*/ 94781 h 481094"/>
                  <a:gd name="connsiteX2" fmla="*/ 1053702 w 1053702"/>
                  <a:gd name="connsiteY2" fmla="*/ 481094 h 481094"/>
                  <a:gd name="connsiteX3" fmla="*/ 640544 w 1053702"/>
                  <a:gd name="connsiteY3" fmla="*/ 0 h 481094"/>
                  <a:gd name="connsiteX4" fmla="*/ 173264 w 1053702"/>
                  <a:gd name="connsiteY4" fmla="*/ 363330 h 481094"/>
                  <a:gd name="connsiteX5" fmla="*/ 76283 w 1053702"/>
                  <a:gd name="connsiteY5" fmla="*/ 32436 h 481094"/>
                  <a:gd name="connsiteX0" fmla="*/ 108719 w 1086138"/>
                  <a:gd name="connsiteY0" fmla="*/ 32436 h 481094"/>
                  <a:gd name="connsiteX1" fmla="*/ 1086138 w 1086138"/>
                  <a:gd name="connsiteY1" fmla="*/ 94781 h 481094"/>
                  <a:gd name="connsiteX2" fmla="*/ 1086138 w 1086138"/>
                  <a:gd name="connsiteY2" fmla="*/ 481094 h 481094"/>
                  <a:gd name="connsiteX3" fmla="*/ 672980 w 1086138"/>
                  <a:gd name="connsiteY3" fmla="*/ 0 h 481094"/>
                  <a:gd name="connsiteX4" fmla="*/ 205700 w 1086138"/>
                  <a:gd name="connsiteY4" fmla="*/ 363330 h 481094"/>
                  <a:gd name="connsiteX5" fmla="*/ 108719 w 1086138"/>
                  <a:gd name="connsiteY5" fmla="*/ 32436 h 481094"/>
                  <a:gd name="connsiteX0" fmla="*/ 108719 w 1086138"/>
                  <a:gd name="connsiteY0" fmla="*/ 32436 h 481094"/>
                  <a:gd name="connsiteX1" fmla="*/ 1086138 w 1086138"/>
                  <a:gd name="connsiteY1" fmla="*/ 94781 h 481094"/>
                  <a:gd name="connsiteX2" fmla="*/ 1086138 w 1086138"/>
                  <a:gd name="connsiteY2" fmla="*/ 481094 h 481094"/>
                  <a:gd name="connsiteX3" fmla="*/ 672980 w 1086138"/>
                  <a:gd name="connsiteY3" fmla="*/ 0 h 481094"/>
                  <a:gd name="connsiteX4" fmla="*/ 205700 w 1086138"/>
                  <a:gd name="connsiteY4" fmla="*/ 363330 h 481094"/>
                  <a:gd name="connsiteX5" fmla="*/ 108719 w 1086138"/>
                  <a:gd name="connsiteY5" fmla="*/ 32436 h 481094"/>
                  <a:gd name="connsiteX0" fmla="*/ 108719 w 1210829"/>
                  <a:gd name="connsiteY0" fmla="*/ 32436 h 481094"/>
                  <a:gd name="connsiteX1" fmla="*/ 1210829 w 1210829"/>
                  <a:gd name="connsiteY1" fmla="*/ 351090 h 481094"/>
                  <a:gd name="connsiteX2" fmla="*/ 1086138 w 1210829"/>
                  <a:gd name="connsiteY2" fmla="*/ 481094 h 481094"/>
                  <a:gd name="connsiteX3" fmla="*/ 672980 w 1210829"/>
                  <a:gd name="connsiteY3" fmla="*/ 0 h 481094"/>
                  <a:gd name="connsiteX4" fmla="*/ 205700 w 1210829"/>
                  <a:gd name="connsiteY4" fmla="*/ 363330 h 481094"/>
                  <a:gd name="connsiteX5" fmla="*/ 108719 w 1210829"/>
                  <a:gd name="connsiteY5" fmla="*/ 32436 h 481094"/>
                  <a:gd name="connsiteX0" fmla="*/ 108719 w 1210829"/>
                  <a:gd name="connsiteY0" fmla="*/ 32436 h 367783"/>
                  <a:gd name="connsiteX1" fmla="*/ 1210829 w 1210829"/>
                  <a:gd name="connsiteY1" fmla="*/ 351090 h 367783"/>
                  <a:gd name="connsiteX2" fmla="*/ 996084 w 1210829"/>
                  <a:gd name="connsiteY2" fmla="*/ 30822 h 367783"/>
                  <a:gd name="connsiteX3" fmla="*/ 672980 w 1210829"/>
                  <a:gd name="connsiteY3" fmla="*/ 0 h 367783"/>
                  <a:gd name="connsiteX4" fmla="*/ 205700 w 1210829"/>
                  <a:gd name="connsiteY4" fmla="*/ 363330 h 367783"/>
                  <a:gd name="connsiteX5" fmla="*/ 108719 w 1210829"/>
                  <a:gd name="connsiteY5" fmla="*/ 32436 h 367783"/>
                  <a:gd name="connsiteX0" fmla="*/ 108719 w 996084"/>
                  <a:gd name="connsiteY0" fmla="*/ 32436 h 600471"/>
                  <a:gd name="connsiteX1" fmla="*/ 899101 w 996084"/>
                  <a:gd name="connsiteY1" fmla="*/ 600471 h 600471"/>
                  <a:gd name="connsiteX2" fmla="*/ 996084 w 996084"/>
                  <a:gd name="connsiteY2" fmla="*/ 30822 h 600471"/>
                  <a:gd name="connsiteX3" fmla="*/ 672980 w 996084"/>
                  <a:gd name="connsiteY3" fmla="*/ 0 h 600471"/>
                  <a:gd name="connsiteX4" fmla="*/ 205700 w 996084"/>
                  <a:gd name="connsiteY4" fmla="*/ 363330 h 600471"/>
                  <a:gd name="connsiteX5" fmla="*/ 108719 w 996084"/>
                  <a:gd name="connsiteY5" fmla="*/ 32436 h 600471"/>
                  <a:gd name="connsiteX0" fmla="*/ 108719 w 899101"/>
                  <a:gd name="connsiteY0" fmla="*/ 32436 h 600471"/>
                  <a:gd name="connsiteX1" fmla="*/ 899101 w 899101"/>
                  <a:gd name="connsiteY1" fmla="*/ 600471 h 600471"/>
                  <a:gd name="connsiteX2" fmla="*/ 767484 w 899101"/>
                  <a:gd name="connsiteY2" fmla="*/ 391040 h 600471"/>
                  <a:gd name="connsiteX3" fmla="*/ 672980 w 899101"/>
                  <a:gd name="connsiteY3" fmla="*/ 0 h 600471"/>
                  <a:gd name="connsiteX4" fmla="*/ 205700 w 899101"/>
                  <a:gd name="connsiteY4" fmla="*/ 363330 h 600471"/>
                  <a:gd name="connsiteX5" fmla="*/ 108719 w 899101"/>
                  <a:gd name="connsiteY5" fmla="*/ 32436 h 600471"/>
                  <a:gd name="connsiteX0" fmla="*/ 108719 w 923424"/>
                  <a:gd name="connsiteY0" fmla="*/ 32436 h 600471"/>
                  <a:gd name="connsiteX1" fmla="*/ 899101 w 923424"/>
                  <a:gd name="connsiteY1" fmla="*/ 600471 h 600471"/>
                  <a:gd name="connsiteX2" fmla="*/ 767484 w 923424"/>
                  <a:gd name="connsiteY2" fmla="*/ 391040 h 600471"/>
                  <a:gd name="connsiteX3" fmla="*/ 672980 w 923424"/>
                  <a:gd name="connsiteY3" fmla="*/ 0 h 600471"/>
                  <a:gd name="connsiteX4" fmla="*/ 205700 w 923424"/>
                  <a:gd name="connsiteY4" fmla="*/ 363330 h 600471"/>
                  <a:gd name="connsiteX5" fmla="*/ 108719 w 923424"/>
                  <a:gd name="connsiteY5" fmla="*/ 32436 h 600471"/>
                  <a:gd name="connsiteX0" fmla="*/ 108719 w 925266"/>
                  <a:gd name="connsiteY0" fmla="*/ 34821 h 602856"/>
                  <a:gd name="connsiteX1" fmla="*/ 899101 w 925266"/>
                  <a:gd name="connsiteY1" fmla="*/ 602856 h 602856"/>
                  <a:gd name="connsiteX2" fmla="*/ 767484 w 925266"/>
                  <a:gd name="connsiteY2" fmla="*/ 393425 h 602856"/>
                  <a:gd name="connsiteX3" fmla="*/ 672980 w 925266"/>
                  <a:gd name="connsiteY3" fmla="*/ 2385 h 602856"/>
                  <a:gd name="connsiteX4" fmla="*/ 205700 w 925266"/>
                  <a:gd name="connsiteY4" fmla="*/ 365715 h 602856"/>
                  <a:gd name="connsiteX5" fmla="*/ 108719 w 925266"/>
                  <a:gd name="connsiteY5" fmla="*/ 34821 h 602856"/>
                  <a:gd name="connsiteX0" fmla="*/ 108719 w 934847"/>
                  <a:gd name="connsiteY0" fmla="*/ 32442 h 600477"/>
                  <a:gd name="connsiteX1" fmla="*/ 899101 w 934847"/>
                  <a:gd name="connsiteY1" fmla="*/ 600477 h 600477"/>
                  <a:gd name="connsiteX2" fmla="*/ 767484 w 934847"/>
                  <a:gd name="connsiteY2" fmla="*/ 391046 h 600477"/>
                  <a:gd name="connsiteX3" fmla="*/ 672980 w 934847"/>
                  <a:gd name="connsiteY3" fmla="*/ 6 h 600477"/>
                  <a:gd name="connsiteX4" fmla="*/ 205700 w 934847"/>
                  <a:gd name="connsiteY4" fmla="*/ 363336 h 600477"/>
                  <a:gd name="connsiteX5" fmla="*/ 108719 w 934847"/>
                  <a:gd name="connsiteY5" fmla="*/ 32442 h 600477"/>
                  <a:gd name="connsiteX0" fmla="*/ 108719 w 922877"/>
                  <a:gd name="connsiteY0" fmla="*/ 32442 h 600477"/>
                  <a:gd name="connsiteX1" fmla="*/ 899101 w 922877"/>
                  <a:gd name="connsiteY1" fmla="*/ 600477 h 600477"/>
                  <a:gd name="connsiteX2" fmla="*/ 767484 w 922877"/>
                  <a:gd name="connsiteY2" fmla="*/ 391046 h 600477"/>
                  <a:gd name="connsiteX3" fmla="*/ 672980 w 922877"/>
                  <a:gd name="connsiteY3" fmla="*/ 6 h 600477"/>
                  <a:gd name="connsiteX4" fmla="*/ 205700 w 922877"/>
                  <a:gd name="connsiteY4" fmla="*/ 363336 h 600477"/>
                  <a:gd name="connsiteX5" fmla="*/ 108719 w 922877"/>
                  <a:gd name="connsiteY5" fmla="*/ 32442 h 600477"/>
                  <a:gd name="connsiteX0" fmla="*/ 108719 w 940851"/>
                  <a:gd name="connsiteY0" fmla="*/ 32442 h 600477"/>
                  <a:gd name="connsiteX1" fmla="*/ 899101 w 940851"/>
                  <a:gd name="connsiteY1" fmla="*/ 600477 h 600477"/>
                  <a:gd name="connsiteX2" fmla="*/ 767484 w 940851"/>
                  <a:gd name="connsiteY2" fmla="*/ 391046 h 600477"/>
                  <a:gd name="connsiteX3" fmla="*/ 672980 w 940851"/>
                  <a:gd name="connsiteY3" fmla="*/ 6 h 600477"/>
                  <a:gd name="connsiteX4" fmla="*/ 205700 w 940851"/>
                  <a:gd name="connsiteY4" fmla="*/ 363336 h 600477"/>
                  <a:gd name="connsiteX5" fmla="*/ 108719 w 940851"/>
                  <a:gd name="connsiteY5" fmla="*/ 32442 h 600477"/>
                  <a:gd name="connsiteX0" fmla="*/ 108719 w 942823"/>
                  <a:gd name="connsiteY0" fmla="*/ 35699 h 603734"/>
                  <a:gd name="connsiteX1" fmla="*/ 899101 w 942823"/>
                  <a:gd name="connsiteY1" fmla="*/ 603734 h 603734"/>
                  <a:gd name="connsiteX2" fmla="*/ 767484 w 942823"/>
                  <a:gd name="connsiteY2" fmla="*/ 394303 h 603734"/>
                  <a:gd name="connsiteX3" fmla="*/ 672980 w 942823"/>
                  <a:gd name="connsiteY3" fmla="*/ 3263 h 603734"/>
                  <a:gd name="connsiteX4" fmla="*/ 205700 w 942823"/>
                  <a:gd name="connsiteY4" fmla="*/ 366593 h 603734"/>
                  <a:gd name="connsiteX5" fmla="*/ 108719 w 942823"/>
                  <a:gd name="connsiteY5" fmla="*/ 35699 h 603734"/>
                  <a:gd name="connsiteX0" fmla="*/ 108719 w 942823"/>
                  <a:gd name="connsiteY0" fmla="*/ 35699 h 603734"/>
                  <a:gd name="connsiteX1" fmla="*/ 899101 w 942823"/>
                  <a:gd name="connsiteY1" fmla="*/ 603734 h 603734"/>
                  <a:gd name="connsiteX2" fmla="*/ 767484 w 942823"/>
                  <a:gd name="connsiteY2" fmla="*/ 394303 h 603734"/>
                  <a:gd name="connsiteX3" fmla="*/ 672980 w 942823"/>
                  <a:gd name="connsiteY3" fmla="*/ 3263 h 603734"/>
                  <a:gd name="connsiteX4" fmla="*/ 205700 w 942823"/>
                  <a:gd name="connsiteY4" fmla="*/ 366593 h 603734"/>
                  <a:gd name="connsiteX5" fmla="*/ 108719 w 942823"/>
                  <a:gd name="connsiteY5" fmla="*/ 35699 h 603734"/>
                  <a:gd name="connsiteX0" fmla="*/ 108719 w 942823"/>
                  <a:gd name="connsiteY0" fmla="*/ 35699 h 394303"/>
                  <a:gd name="connsiteX1" fmla="*/ 635865 w 942823"/>
                  <a:gd name="connsiteY1" fmla="*/ 354352 h 394303"/>
                  <a:gd name="connsiteX2" fmla="*/ 767484 w 942823"/>
                  <a:gd name="connsiteY2" fmla="*/ 394303 h 394303"/>
                  <a:gd name="connsiteX3" fmla="*/ 672980 w 942823"/>
                  <a:gd name="connsiteY3" fmla="*/ 3263 h 394303"/>
                  <a:gd name="connsiteX4" fmla="*/ 205700 w 942823"/>
                  <a:gd name="connsiteY4" fmla="*/ 366593 h 394303"/>
                  <a:gd name="connsiteX5" fmla="*/ 108719 w 942823"/>
                  <a:gd name="connsiteY5" fmla="*/ 35699 h 394303"/>
                  <a:gd name="connsiteX0" fmla="*/ 108719 w 942823"/>
                  <a:gd name="connsiteY0" fmla="*/ 35699 h 394303"/>
                  <a:gd name="connsiteX1" fmla="*/ 714545 w 942823"/>
                  <a:gd name="connsiteY1" fmla="*/ 30975 h 394303"/>
                  <a:gd name="connsiteX2" fmla="*/ 635865 w 942823"/>
                  <a:gd name="connsiteY2" fmla="*/ 354352 h 394303"/>
                  <a:gd name="connsiteX3" fmla="*/ 767484 w 942823"/>
                  <a:gd name="connsiteY3" fmla="*/ 394303 h 394303"/>
                  <a:gd name="connsiteX4" fmla="*/ 672980 w 942823"/>
                  <a:gd name="connsiteY4" fmla="*/ 3263 h 394303"/>
                  <a:gd name="connsiteX5" fmla="*/ 205700 w 942823"/>
                  <a:gd name="connsiteY5" fmla="*/ 366593 h 394303"/>
                  <a:gd name="connsiteX6" fmla="*/ 108719 w 942823"/>
                  <a:gd name="connsiteY6" fmla="*/ 35699 h 394303"/>
                  <a:gd name="connsiteX0" fmla="*/ 108719 w 942823"/>
                  <a:gd name="connsiteY0" fmla="*/ 35699 h 394303"/>
                  <a:gd name="connsiteX1" fmla="*/ 714545 w 942823"/>
                  <a:gd name="connsiteY1" fmla="*/ 30975 h 394303"/>
                  <a:gd name="connsiteX2" fmla="*/ 635865 w 942823"/>
                  <a:gd name="connsiteY2" fmla="*/ 354352 h 394303"/>
                  <a:gd name="connsiteX3" fmla="*/ 767484 w 942823"/>
                  <a:gd name="connsiteY3" fmla="*/ 394303 h 394303"/>
                  <a:gd name="connsiteX4" fmla="*/ 672980 w 942823"/>
                  <a:gd name="connsiteY4" fmla="*/ 3263 h 394303"/>
                  <a:gd name="connsiteX5" fmla="*/ 205700 w 942823"/>
                  <a:gd name="connsiteY5" fmla="*/ 366593 h 394303"/>
                  <a:gd name="connsiteX6" fmla="*/ 108719 w 942823"/>
                  <a:gd name="connsiteY6" fmla="*/ 35699 h 394303"/>
                  <a:gd name="connsiteX0" fmla="*/ 108719 w 942823"/>
                  <a:gd name="connsiteY0" fmla="*/ 35699 h 394303"/>
                  <a:gd name="connsiteX1" fmla="*/ 714545 w 942823"/>
                  <a:gd name="connsiteY1" fmla="*/ 30975 h 394303"/>
                  <a:gd name="connsiteX2" fmla="*/ 635865 w 942823"/>
                  <a:gd name="connsiteY2" fmla="*/ 354352 h 394303"/>
                  <a:gd name="connsiteX3" fmla="*/ 767484 w 942823"/>
                  <a:gd name="connsiteY3" fmla="*/ 394303 h 394303"/>
                  <a:gd name="connsiteX4" fmla="*/ 672980 w 942823"/>
                  <a:gd name="connsiteY4" fmla="*/ 3263 h 394303"/>
                  <a:gd name="connsiteX5" fmla="*/ 205700 w 942823"/>
                  <a:gd name="connsiteY5" fmla="*/ 366593 h 394303"/>
                  <a:gd name="connsiteX6" fmla="*/ 108719 w 942823"/>
                  <a:gd name="connsiteY6" fmla="*/ 35699 h 394303"/>
                  <a:gd name="connsiteX0" fmla="*/ 108719 w 942823"/>
                  <a:gd name="connsiteY0" fmla="*/ 35699 h 394303"/>
                  <a:gd name="connsiteX1" fmla="*/ 714545 w 942823"/>
                  <a:gd name="connsiteY1" fmla="*/ 30975 h 394303"/>
                  <a:gd name="connsiteX2" fmla="*/ 635865 w 942823"/>
                  <a:gd name="connsiteY2" fmla="*/ 354352 h 394303"/>
                  <a:gd name="connsiteX3" fmla="*/ 767484 w 942823"/>
                  <a:gd name="connsiteY3" fmla="*/ 394303 h 394303"/>
                  <a:gd name="connsiteX4" fmla="*/ 672980 w 942823"/>
                  <a:gd name="connsiteY4" fmla="*/ 3263 h 394303"/>
                  <a:gd name="connsiteX5" fmla="*/ 205700 w 942823"/>
                  <a:gd name="connsiteY5" fmla="*/ 366593 h 394303"/>
                  <a:gd name="connsiteX6" fmla="*/ 108719 w 942823"/>
                  <a:gd name="connsiteY6" fmla="*/ 35699 h 394303"/>
                  <a:gd name="connsiteX0" fmla="*/ 108719 w 942823"/>
                  <a:gd name="connsiteY0" fmla="*/ 35699 h 394303"/>
                  <a:gd name="connsiteX1" fmla="*/ 714545 w 942823"/>
                  <a:gd name="connsiteY1" fmla="*/ 30975 h 394303"/>
                  <a:gd name="connsiteX2" fmla="*/ 635865 w 942823"/>
                  <a:gd name="connsiteY2" fmla="*/ 354352 h 394303"/>
                  <a:gd name="connsiteX3" fmla="*/ 767484 w 942823"/>
                  <a:gd name="connsiteY3" fmla="*/ 394303 h 394303"/>
                  <a:gd name="connsiteX4" fmla="*/ 672980 w 942823"/>
                  <a:gd name="connsiteY4" fmla="*/ 3263 h 394303"/>
                  <a:gd name="connsiteX5" fmla="*/ 205700 w 942823"/>
                  <a:gd name="connsiteY5" fmla="*/ 366593 h 394303"/>
                  <a:gd name="connsiteX6" fmla="*/ 108719 w 942823"/>
                  <a:gd name="connsiteY6" fmla="*/ 35699 h 394303"/>
                  <a:gd name="connsiteX0" fmla="*/ 108719 w 942823"/>
                  <a:gd name="connsiteY0" fmla="*/ 35699 h 394303"/>
                  <a:gd name="connsiteX1" fmla="*/ 714545 w 942823"/>
                  <a:gd name="connsiteY1" fmla="*/ 30975 h 394303"/>
                  <a:gd name="connsiteX2" fmla="*/ 635865 w 942823"/>
                  <a:gd name="connsiteY2" fmla="*/ 354352 h 394303"/>
                  <a:gd name="connsiteX3" fmla="*/ 767484 w 942823"/>
                  <a:gd name="connsiteY3" fmla="*/ 394303 h 394303"/>
                  <a:gd name="connsiteX4" fmla="*/ 672980 w 942823"/>
                  <a:gd name="connsiteY4" fmla="*/ 3263 h 394303"/>
                  <a:gd name="connsiteX5" fmla="*/ 205700 w 942823"/>
                  <a:gd name="connsiteY5" fmla="*/ 366593 h 394303"/>
                  <a:gd name="connsiteX6" fmla="*/ 108719 w 942823"/>
                  <a:gd name="connsiteY6" fmla="*/ 35699 h 394303"/>
                  <a:gd name="connsiteX0" fmla="*/ 108719 w 942823"/>
                  <a:gd name="connsiteY0" fmla="*/ 35699 h 394303"/>
                  <a:gd name="connsiteX1" fmla="*/ 243490 w 942823"/>
                  <a:gd name="connsiteY1" fmla="*/ 391193 h 394303"/>
                  <a:gd name="connsiteX2" fmla="*/ 714545 w 942823"/>
                  <a:gd name="connsiteY2" fmla="*/ 30975 h 394303"/>
                  <a:gd name="connsiteX3" fmla="*/ 635865 w 942823"/>
                  <a:gd name="connsiteY3" fmla="*/ 354352 h 394303"/>
                  <a:gd name="connsiteX4" fmla="*/ 767484 w 942823"/>
                  <a:gd name="connsiteY4" fmla="*/ 394303 h 394303"/>
                  <a:gd name="connsiteX5" fmla="*/ 672980 w 942823"/>
                  <a:gd name="connsiteY5" fmla="*/ 3263 h 394303"/>
                  <a:gd name="connsiteX6" fmla="*/ 205700 w 942823"/>
                  <a:gd name="connsiteY6" fmla="*/ 366593 h 394303"/>
                  <a:gd name="connsiteX7" fmla="*/ 108719 w 942823"/>
                  <a:gd name="connsiteY7" fmla="*/ 35699 h 394303"/>
                  <a:gd name="connsiteX0" fmla="*/ 108719 w 942823"/>
                  <a:gd name="connsiteY0" fmla="*/ 35699 h 394303"/>
                  <a:gd name="connsiteX1" fmla="*/ 243490 w 942823"/>
                  <a:gd name="connsiteY1" fmla="*/ 391193 h 394303"/>
                  <a:gd name="connsiteX2" fmla="*/ 714545 w 942823"/>
                  <a:gd name="connsiteY2" fmla="*/ 30975 h 394303"/>
                  <a:gd name="connsiteX3" fmla="*/ 635865 w 942823"/>
                  <a:gd name="connsiteY3" fmla="*/ 354352 h 394303"/>
                  <a:gd name="connsiteX4" fmla="*/ 767484 w 942823"/>
                  <a:gd name="connsiteY4" fmla="*/ 394303 h 394303"/>
                  <a:gd name="connsiteX5" fmla="*/ 672980 w 942823"/>
                  <a:gd name="connsiteY5" fmla="*/ 3263 h 394303"/>
                  <a:gd name="connsiteX6" fmla="*/ 205700 w 942823"/>
                  <a:gd name="connsiteY6" fmla="*/ 366593 h 394303"/>
                  <a:gd name="connsiteX7" fmla="*/ 108719 w 942823"/>
                  <a:gd name="connsiteY7" fmla="*/ 35699 h 394303"/>
                  <a:gd name="connsiteX0" fmla="*/ 108719 w 942823"/>
                  <a:gd name="connsiteY0" fmla="*/ 35699 h 394303"/>
                  <a:gd name="connsiteX1" fmla="*/ 243490 w 942823"/>
                  <a:gd name="connsiteY1" fmla="*/ 391193 h 394303"/>
                  <a:gd name="connsiteX2" fmla="*/ 714545 w 942823"/>
                  <a:gd name="connsiteY2" fmla="*/ 30975 h 394303"/>
                  <a:gd name="connsiteX3" fmla="*/ 635865 w 942823"/>
                  <a:gd name="connsiteY3" fmla="*/ 354352 h 394303"/>
                  <a:gd name="connsiteX4" fmla="*/ 767484 w 942823"/>
                  <a:gd name="connsiteY4" fmla="*/ 394303 h 394303"/>
                  <a:gd name="connsiteX5" fmla="*/ 672980 w 942823"/>
                  <a:gd name="connsiteY5" fmla="*/ 3263 h 394303"/>
                  <a:gd name="connsiteX6" fmla="*/ 205700 w 942823"/>
                  <a:gd name="connsiteY6" fmla="*/ 366593 h 394303"/>
                  <a:gd name="connsiteX7" fmla="*/ 108719 w 942823"/>
                  <a:gd name="connsiteY7" fmla="*/ 35699 h 394303"/>
                  <a:gd name="connsiteX0" fmla="*/ 108719 w 942823"/>
                  <a:gd name="connsiteY0" fmla="*/ 35699 h 394303"/>
                  <a:gd name="connsiteX1" fmla="*/ 243490 w 942823"/>
                  <a:gd name="connsiteY1" fmla="*/ 391193 h 394303"/>
                  <a:gd name="connsiteX2" fmla="*/ 714545 w 942823"/>
                  <a:gd name="connsiteY2" fmla="*/ 30975 h 394303"/>
                  <a:gd name="connsiteX3" fmla="*/ 635865 w 942823"/>
                  <a:gd name="connsiteY3" fmla="*/ 354352 h 394303"/>
                  <a:gd name="connsiteX4" fmla="*/ 767484 w 942823"/>
                  <a:gd name="connsiteY4" fmla="*/ 394303 h 394303"/>
                  <a:gd name="connsiteX5" fmla="*/ 672980 w 942823"/>
                  <a:gd name="connsiteY5" fmla="*/ 3263 h 394303"/>
                  <a:gd name="connsiteX6" fmla="*/ 205700 w 942823"/>
                  <a:gd name="connsiteY6" fmla="*/ 366593 h 394303"/>
                  <a:gd name="connsiteX7" fmla="*/ 108719 w 942823"/>
                  <a:gd name="connsiteY7" fmla="*/ 35699 h 394303"/>
                  <a:gd name="connsiteX0" fmla="*/ 108719 w 942823"/>
                  <a:gd name="connsiteY0" fmla="*/ 35699 h 394303"/>
                  <a:gd name="connsiteX1" fmla="*/ 243490 w 942823"/>
                  <a:gd name="connsiteY1" fmla="*/ 391193 h 394303"/>
                  <a:gd name="connsiteX2" fmla="*/ 714545 w 942823"/>
                  <a:gd name="connsiteY2" fmla="*/ 30975 h 394303"/>
                  <a:gd name="connsiteX3" fmla="*/ 635865 w 942823"/>
                  <a:gd name="connsiteY3" fmla="*/ 354352 h 394303"/>
                  <a:gd name="connsiteX4" fmla="*/ 767484 w 942823"/>
                  <a:gd name="connsiteY4" fmla="*/ 394303 h 394303"/>
                  <a:gd name="connsiteX5" fmla="*/ 672980 w 942823"/>
                  <a:gd name="connsiteY5" fmla="*/ 3263 h 394303"/>
                  <a:gd name="connsiteX6" fmla="*/ 205700 w 942823"/>
                  <a:gd name="connsiteY6" fmla="*/ 366593 h 394303"/>
                  <a:gd name="connsiteX7" fmla="*/ 108719 w 942823"/>
                  <a:gd name="connsiteY7" fmla="*/ 35699 h 394303"/>
                  <a:gd name="connsiteX0" fmla="*/ 99206 w 933310"/>
                  <a:gd name="connsiteY0" fmla="*/ 35699 h 394303"/>
                  <a:gd name="connsiteX1" fmla="*/ 233977 w 933310"/>
                  <a:gd name="connsiteY1" fmla="*/ 391193 h 394303"/>
                  <a:gd name="connsiteX2" fmla="*/ 705032 w 933310"/>
                  <a:gd name="connsiteY2" fmla="*/ 30975 h 394303"/>
                  <a:gd name="connsiteX3" fmla="*/ 626352 w 933310"/>
                  <a:gd name="connsiteY3" fmla="*/ 354352 h 394303"/>
                  <a:gd name="connsiteX4" fmla="*/ 757971 w 933310"/>
                  <a:gd name="connsiteY4" fmla="*/ 394303 h 394303"/>
                  <a:gd name="connsiteX5" fmla="*/ 663467 w 933310"/>
                  <a:gd name="connsiteY5" fmla="*/ 3263 h 394303"/>
                  <a:gd name="connsiteX6" fmla="*/ 223896 w 933310"/>
                  <a:gd name="connsiteY6" fmla="*/ 338883 h 394303"/>
                  <a:gd name="connsiteX7" fmla="*/ 99206 w 933310"/>
                  <a:gd name="connsiteY7" fmla="*/ 35699 h 394303"/>
                  <a:gd name="connsiteX0" fmla="*/ 111296 w 945400"/>
                  <a:gd name="connsiteY0" fmla="*/ 35699 h 394303"/>
                  <a:gd name="connsiteX1" fmla="*/ 246067 w 945400"/>
                  <a:gd name="connsiteY1" fmla="*/ 391193 h 394303"/>
                  <a:gd name="connsiteX2" fmla="*/ 717122 w 945400"/>
                  <a:gd name="connsiteY2" fmla="*/ 30975 h 394303"/>
                  <a:gd name="connsiteX3" fmla="*/ 638442 w 945400"/>
                  <a:gd name="connsiteY3" fmla="*/ 354352 h 394303"/>
                  <a:gd name="connsiteX4" fmla="*/ 770061 w 945400"/>
                  <a:gd name="connsiteY4" fmla="*/ 394303 h 394303"/>
                  <a:gd name="connsiteX5" fmla="*/ 675557 w 945400"/>
                  <a:gd name="connsiteY5" fmla="*/ 3263 h 394303"/>
                  <a:gd name="connsiteX6" fmla="*/ 201349 w 945400"/>
                  <a:gd name="connsiteY6" fmla="*/ 380446 h 394303"/>
                  <a:gd name="connsiteX7" fmla="*/ 111296 w 945400"/>
                  <a:gd name="connsiteY7" fmla="*/ 35699 h 394303"/>
                  <a:gd name="connsiteX0" fmla="*/ 111296 w 945400"/>
                  <a:gd name="connsiteY0" fmla="*/ 35699 h 394303"/>
                  <a:gd name="connsiteX1" fmla="*/ 232213 w 945400"/>
                  <a:gd name="connsiteY1" fmla="*/ 328847 h 394303"/>
                  <a:gd name="connsiteX2" fmla="*/ 717122 w 945400"/>
                  <a:gd name="connsiteY2" fmla="*/ 30975 h 394303"/>
                  <a:gd name="connsiteX3" fmla="*/ 638442 w 945400"/>
                  <a:gd name="connsiteY3" fmla="*/ 354352 h 394303"/>
                  <a:gd name="connsiteX4" fmla="*/ 770061 w 945400"/>
                  <a:gd name="connsiteY4" fmla="*/ 394303 h 394303"/>
                  <a:gd name="connsiteX5" fmla="*/ 675557 w 945400"/>
                  <a:gd name="connsiteY5" fmla="*/ 3263 h 394303"/>
                  <a:gd name="connsiteX6" fmla="*/ 201349 w 945400"/>
                  <a:gd name="connsiteY6" fmla="*/ 380446 h 394303"/>
                  <a:gd name="connsiteX7" fmla="*/ 111296 w 945400"/>
                  <a:gd name="connsiteY7" fmla="*/ 35699 h 394303"/>
                  <a:gd name="connsiteX0" fmla="*/ 111296 w 945400"/>
                  <a:gd name="connsiteY0" fmla="*/ 35699 h 394303"/>
                  <a:gd name="connsiteX1" fmla="*/ 232213 w 945400"/>
                  <a:gd name="connsiteY1" fmla="*/ 328847 h 394303"/>
                  <a:gd name="connsiteX2" fmla="*/ 717122 w 945400"/>
                  <a:gd name="connsiteY2" fmla="*/ 30975 h 394303"/>
                  <a:gd name="connsiteX3" fmla="*/ 638442 w 945400"/>
                  <a:gd name="connsiteY3" fmla="*/ 354352 h 394303"/>
                  <a:gd name="connsiteX4" fmla="*/ 770061 w 945400"/>
                  <a:gd name="connsiteY4" fmla="*/ 394303 h 394303"/>
                  <a:gd name="connsiteX5" fmla="*/ 675557 w 945400"/>
                  <a:gd name="connsiteY5" fmla="*/ 3263 h 394303"/>
                  <a:gd name="connsiteX6" fmla="*/ 201349 w 945400"/>
                  <a:gd name="connsiteY6" fmla="*/ 380446 h 394303"/>
                  <a:gd name="connsiteX7" fmla="*/ 111296 w 945400"/>
                  <a:gd name="connsiteY7" fmla="*/ 35699 h 394303"/>
                  <a:gd name="connsiteX0" fmla="*/ 94898 w 929002"/>
                  <a:gd name="connsiteY0" fmla="*/ 35699 h 394303"/>
                  <a:gd name="connsiteX1" fmla="*/ 215815 w 929002"/>
                  <a:gd name="connsiteY1" fmla="*/ 328847 h 394303"/>
                  <a:gd name="connsiteX2" fmla="*/ 700724 w 929002"/>
                  <a:gd name="connsiteY2" fmla="*/ 30975 h 394303"/>
                  <a:gd name="connsiteX3" fmla="*/ 622044 w 929002"/>
                  <a:gd name="connsiteY3" fmla="*/ 354352 h 394303"/>
                  <a:gd name="connsiteX4" fmla="*/ 753663 w 929002"/>
                  <a:gd name="connsiteY4" fmla="*/ 394303 h 394303"/>
                  <a:gd name="connsiteX5" fmla="*/ 659159 w 929002"/>
                  <a:gd name="connsiteY5" fmla="*/ 3263 h 394303"/>
                  <a:gd name="connsiteX6" fmla="*/ 233442 w 929002"/>
                  <a:gd name="connsiteY6" fmla="*/ 380446 h 394303"/>
                  <a:gd name="connsiteX7" fmla="*/ 94898 w 929002"/>
                  <a:gd name="connsiteY7" fmla="*/ 35699 h 394303"/>
                  <a:gd name="connsiteX0" fmla="*/ 98467 w 932571"/>
                  <a:gd name="connsiteY0" fmla="*/ 35699 h 394303"/>
                  <a:gd name="connsiteX1" fmla="*/ 219384 w 932571"/>
                  <a:gd name="connsiteY1" fmla="*/ 328847 h 394303"/>
                  <a:gd name="connsiteX2" fmla="*/ 704293 w 932571"/>
                  <a:gd name="connsiteY2" fmla="*/ 30975 h 394303"/>
                  <a:gd name="connsiteX3" fmla="*/ 625613 w 932571"/>
                  <a:gd name="connsiteY3" fmla="*/ 354352 h 394303"/>
                  <a:gd name="connsiteX4" fmla="*/ 757232 w 932571"/>
                  <a:gd name="connsiteY4" fmla="*/ 394303 h 394303"/>
                  <a:gd name="connsiteX5" fmla="*/ 662728 w 932571"/>
                  <a:gd name="connsiteY5" fmla="*/ 3263 h 394303"/>
                  <a:gd name="connsiteX6" fmla="*/ 237011 w 932571"/>
                  <a:gd name="connsiteY6" fmla="*/ 380446 h 394303"/>
                  <a:gd name="connsiteX7" fmla="*/ 98467 w 932571"/>
                  <a:gd name="connsiteY7" fmla="*/ 35699 h 394303"/>
                  <a:gd name="connsiteX0" fmla="*/ 105342 w 939446"/>
                  <a:gd name="connsiteY0" fmla="*/ 35699 h 394303"/>
                  <a:gd name="connsiteX1" fmla="*/ 226259 w 939446"/>
                  <a:gd name="connsiteY1" fmla="*/ 328847 h 394303"/>
                  <a:gd name="connsiteX2" fmla="*/ 711168 w 939446"/>
                  <a:gd name="connsiteY2" fmla="*/ 30975 h 394303"/>
                  <a:gd name="connsiteX3" fmla="*/ 632488 w 939446"/>
                  <a:gd name="connsiteY3" fmla="*/ 354352 h 394303"/>
                  <a:gd name="connsiteX4" fmla="*/ 764107 w 939446"/>
                  <a:gd name="connsiteY4" fmla="*/ 394303 h 394303"/>
                  <a:gd name="connsiteX5" fmla="*/ 669603 w 939446"/>
                  <a:gd name="connsiteY5" fmla="*/ 3263 h 394303"/>
                  <a:gd name="connsiteX6" fmla="*/ 223105 w 939446"/>
                  <a:gd name="connsiteY6" fmla="*/ 352737 h 394303"/>
                  <a:gd name="connsiteX7" fmla="*/ 105342 w 939446"/>
                  <a:gd name="connsiteY7" fmla="*/ 35699 h 394303"/>
                  <a:gd name="connsiteX0" fmla="*/ 105342 w 939446"/>
                  <a:gd name="connsiteY0" fmla="*/ 35699 h 403258"/>
                  <a:gd name="connsiteX1" fmla="*/ 198550 w 939446"/>
                  <a:gd name="connsiteY1" fmla="*/ 363484 h 403258"/>
                  <a:gd name="connsiteX2" fmla="*/ 711168 w 939446"/>
                  <a:gd name="connsiteY2" fmla="*/ 30975 h 403258"/>
                  <a:gd name="connsiteX3" fmla="*/ 632488 w 939446"/>
                  <a:gd name="connsiteY3" fmla="*/ 354352 h 403258"/>
                  <a:gd name="connsiteX4" fmla="*/ 764107 w 939446"/>
                  <a:gd name="connsiteY4" fmla="*/ 394303 h 403258"/>
                  <a:gd name="connsiteX5" fmla="*/ 669603 w 939446"/>
                  <a:gd name="connsiteY5" fmla="*/ 3263 h 403258"/>
                  <a:gd name="connsiteX6" fmla="*/ 223105 w 939446"/>
                  <a:gd name="connsiteY6" fmla="*/ 352737 h 403258"/>
                  <a:gd name="connsiteX7" fmla="*/ 105342 w 939446"/>
                  <a:gd name="connsiteY7" fmla="*/ 35699 h 403258"/>
                  <a:gd name="connsiteX0" fmla="*/ 105342 w 939446"/>
                  <a:gd name="connsiteY0" fmla="*/ 35699 h 394303"/>
                  <a:gd name="connsiteX1" fmla="*/ 198550 w 939446"/>
                  <a:gd name="connsiteY1" fmla="*/ 363484 h 394303"/>
                  <a:gd name="connsiteX2" fmla="*/ 711168 w 939446"/>
                  <a:gd name="connsiteY2" fmla="*/ 30975 h 394303"/>
                  <a:gd name="connsiteX3" fmla="*/ 632488 w 939446"/>
                  <a:gd name="connsiteY3" fmla="*/ 354352 h 394303"/>
                  <a:gd name="connsiteX4" fmla="*/ 764107 w 939446"/>
                  <a:gd name="connsiteY4" fmla="*/ 394303 h 394303"/>
                  <a:gd name="connsiteX5" fmla="*/ 669603 w 939446"/>
                  <a:gd name="connsiteY5" fmla="*/ 3263 h 394303"/>
                  <a:gd name="connsiteX6" fmla="*/ 223105 w 939446"/>
                  <a:gd name="connsiteY6" fmla="*/ 352737 h 394303"/>
                  <a:gd name="connsiteX7" fmla="*/ 105342 w 939446"/>
                  <a:gd name="connsiteY7" fmla="*/ 35699 h 394303"/>
                  <a:gd name="connsiteX0" fmla="*/ 105342 w 939446"/>
                  <a:gd name="connsiteY0" fmla="*/ 35699 h 394303"/>
                  <a:gd name="connsiteX1" fmla="*/ 198550 w 939446"/>
                  <a:gd name="connsiteY1" fmla="*/ 363484 h 394303"/>
                  <a:gd name="connsiteX2" fmla="*/ 711168 w 939446"/>
                  <a:gd name="connsiteY2" fmla="*/ 30975 h 394303"/>
                  <a:gd name="connsiteX3" fmla="*/ 632488 w 939446"/>
                  <a:gd name="connsiteY3" fmla="*/ 354352 h 394303"/>
                  <a:gd name="connsiteX4" fmla="*/ 764107 w 939446"/>
                  <a:gd name="connsiteY4" fmla="*/ 394303 h 394303"/>
                  <a:gd name="connsiteX5" fmla="*/ 669603 w 939446"/>
                  <a:gd name="connsiteY5" fmla="*/ 3263 h 394303"/>
                  <a:gd name="connsiteX6" fmla="*/ 223105 w 939446"/>
                  <a:gd name="connsiteY6" fmla="*/ 352737 h 394303"/>
                  <a:gd name="connsiteX7" fmla="*/ 105342 w 939446"/>
                  <a:gd name="connsiteY7" fmla="*/ 35699 h 394303"/>
                  <a:gd name="connsiteX0" fmla="*/ 105342 w 939446"/>
                  <a:gd name="connsiteY0" fmla="*/ 35699 h 394303"/>
                  <a:gd name="connsiteX1" fmla="*/ 170841 w 939446"/>
                  <a:gd name="connsiteY1" fmla="*/ 37902 h 394303"/>
                  <a:gd name="connsiteX2" fmla="*/ 198550 w 939446"/>
                  <a:gd name="connsiteY2" fmla="*/ 363484 h 394303"/>
                  <a:gd name="connsiteX3" fmla="*/ 711168 w 939446"/>
                  <a:gd name="connsiteY3" fmla="*/ 30975 h 394303"/>
                  <a:gd name="connsiteX4" fmla="*/ 632488 w 939446"/>
                  <a:gd name="connsiteY4" fmla="*/ 354352 h 394303"/>
                  <a:gd name="connsiteX5" fmla="*/ 764107 w 939446"/>
                  <a:gd name="connsiteY5" fmla="*/ 394303 h 394303"/>
                  <a:gd name="connsiteX6" fmla="*/ 669603 w 939446"/>
                  <a:gd name="connsiteY6" fmla="*/ 3263 h 394303"/>
                  <a:gd name="connsiteX7" fmla="*/ 223105 w 939446"/>
                  <a:gd name="connsiteY7" fmla="*/ 352737 h 394303"/>
                  <a:gd name="connsiteX8" fmla="*/ 105342 w 939446"/>
                  <a:gd name="connsiteY8" fmla="*/ 35699 h 394303"/>
                  <a:gd name="connsiteX0" fmla="*/ 105342 w 939446"/>
                  <a:gd name="connsiteY0" fmla="*/ 35699 h 394303"/>
                  <a:gd name="connsiteX1" fmla="*/ 170841 w 939446"/>
                  <a:gd name="connsiteY1" fmla="*/ 37902 h 394303"/>
                  <a:gd name="connsiteX2" fmla="*/ 198550 w 939446"/>
                  <a:gd name="connsiteY2" fmla="*/ 363484 h 394303"/>
                  <a:gd name="connsiteX3" fmla="*/ 711168 w 939446"/>
                  <a:gd name="connsiteY3" fmla="*/ 30975 h 394303"/>
                  <a:gd name="connsiteX4" fmla="*/ 632488 w 939446"/>
                  <a:gd name="connsiteY4" fmla="*/ 354352 h 394303"/>
                  <a:gd name="connsiteX5" fmla="*/ 764107 w 939446"/>
                  <a:gd name="connsiteY5" fmla="*/ 394303 h 394303"/>
                  <a:gd name="connsiteX6" fmla="*/ 669603 w 939446"/>
                  <a:gd name="connsiteY6" fmla="*/ 3263 h 394303"/>
                  <a:gd name="connsiteX7" fmla="*/ 223105 w 939446"/>
                  <a:gd name="connsiteY7" fmla="*/ 352737 h 394303"/>
                  <a:gd name="connsiteX8" fmla="*/ 105342 w 939446"/>
                  <a:gd name="connsiteY8" fmla="*/ 35699 h 394303"/>
                  <a:gd name="connsiteX0" fmla="*/ 105342 w 939446"/>
                  <a:gd name="connsiteY0" fmla="*/ 35699 h 394303"/>
                  <a:gd name="connsiteX1" fmla="*/ 170841 w 939446"/>
                  <a:gd name="connsiteY1" fmla="*/ 37902 h 394303"/>
                  <a:gd name="connsiteX2" fmla="*/ 198550 w 939446"/>
                  <a:gd name="connsiteY2" fmla="*/ 363484 h 394303"/>
                  <a:gd name="connsiteX3" fmla="*/ 711168 w 939446"/>
                  <a:gd name="connsiteY3" fmla="*/ 30975 h 394303"/>
                  <a:gd name="connsiteX4" fmla="*/ 632488 w 939446"/>
                  <a:gd name="connsiteY4" fmla="*/ 354352 h 394303"/>
                  <a:gd name="connsiteX5" fmla="*/ 764107 w 939446"/>
                  <a:gd name="connsiteY5" fmla="*/ 394303 h 394303"/>
                  <a:gd name="connsiteX6" fmla="*/ 669603 w 939446"/>
                  <a:gd name="connsiteY6" fmla="*/ 3263 h 394303"/>
                  <a:gd name="connsiteX7" fmla="*/ 223105 w 939446"/>
                  <a:gd name="connsiteY7" fmla="*/ 352737 h 394303"/>
                  <a:gd name="connsiteX8" fmla="*/ 105342 w 939446"/>
                  <a:gd name="connsiteY8" fmla="*/ 35699 h 394303"/>
                  <a:gd name="connsiteX0" fmla="*/ 105342 w 930539"/>
                  <a:gd name="connsiteY0" fmla="*/ 35556 h 408015"/>
                  <a:gd name="connsiteX1" fmla="*/ 170841 w 930539"/>
                  <a:gd name="connsiteY1" fmla="*/ 37759 h 408015"/>
                  <a:gd name="connsiteX2" fmla="*/ 198550 w 930539"/>
                  <a:gd name="connsiteY2" fmla="*/ 363341 h 408015"/>
                  <a:gd name="connsiteX3" fmla="*/ 711168 w 930539"/>
                  <a:gd name="connsiteY3" fmla="*/ 30832 h 408015"/>
                  <a:gd name="connsiteX4" fmla="*/ 632488 w 930539"/>
                  <a:gd name="connsiteY4" fmla="*/ 354209 h 408015"/>
                  <a:gd name="connsiteX5" fmla="*/ 750253 w 930539"/>
                  <a:gd name="connsiteY5" fmla="*/ 408015 h 408015"/>
                  <a:gd name="connsiteX6" fmla="*/ 669603 w 930539"/>
                  <a:gd name="connsiteY6" fmla="*/ 3120 h 408015"/>
                  <a:gd name="connsiteX7" fmla="*/ 223105 w 930539"/>
                  <a:gd name="connsiteY7" fmla="*/ 352594 h 408015"/>
                  <a:gd name="connsiteX8" fmla="*/ 105342 w 930539"/>
                  <a:gd name="connsiteY8" fmla="*/ 35556 h 408015"/>
                  <a:gd name="connsiteX0" fmla="*/ 105342 w 930539"/>
                  <a:gd name="connsiteY0" fmla="*/ 35556 h 408015"/>
                  <a:gd name="connsiteX1" fmla="*/ 170841 w 930539"/>
                  <a:gd name="connsiteY1" fmla="*/ 37759 h 408015"/>
                  <a:gd name="connsiteX2" fmla="*/ 229723 w 930539"/>
                  <a:gd name="connsiteY2" fmla="*/ 318314 h 408015"/>
                  <a:gd name="connsiteX3" fmla="*/ 711168 w 930539"/>
                  <a:gd name="connsiteY3" fmla="*/ 30832 h 408015"/>
                  <a:gd name="connsiteX4" fmla="*/ 632488 w 930539"/>
                  <a:gd name="connsiteY4" fmla="*/ 354209 h 408015"/>
                  <a:gd name="connsiteX5" fmla="*/ 750253 w 930539"/>
                  <a:gd name="connsiteY5" fmla="*/ 408015 h 408015"/>
                  <a:gd name="connsiteX6" fmla="*/ 669603 w 930539"/>
                  <a:gd name="connsiteY6" fmla="*/ 3120 h 408015"/>
                  <a:gd name="connsiteX7" fmla="*/ 223105 w 930539"/>
                  <a:gd name="connsiteY7" fmla="*/ 352594 h 408015"/>
                  <a:gd name="connsiteX8" fmla="*/ 105342 w 930539"/>
                  <a:gd name="connsiteY8" fmla="*/ 35556 h 408015"/>
                  <a:gd name="connsiteX0" fmla="*/ 105342 w 930539"/>
                  <a:gd name="connsiteY0" fmla="*/ 35556 h 408015"/>
                  <a:gd name="connsiteX1" fmla="*/ 170841 w 930539"/>
                  <a:gd name="connsiteY1" fmla="*/ 37759 h 408015"/>
                  <a:gd name="connsiteX2" fmla="*/ 229723 w 930539"/>
                  <a:gd name="connsiteY2" fmla="*/ 318314 h 408015"/>
                  <a:gd name="connsiteX3" fmla="*/ 711168 w 930539"/>
                  <a:gd name="connsiteY3" fmla="*/ 30832 h 408015"/>
                  <a:gd name="connsiteX4" fmla="*/ 632488 w 930539"/>
                  <a:gd name="connsiteY4" fmla="*/ 354209 h 408015"/>
                  <a:gd name="connsiteX5" fmla="*/ 750253 w 930539"/>
                  <a:gd name="connsiteY5" fmla="*/ 408015 h 408015"/>
                  <a:gd name="connsiteX6" fmla="*/ 669603 w 930539"/>
                  <a:gd name="connsiteY6" fmla="*/ 3120 h 408015"/>
                  <a:gd name="connsiteX7" fmla="*/ 223105 w 930539"/>
                  <a:gd name="connsiteY7" fmla="*/ 345666 h 408015"/>
                  <a:gd name="connsiteX8" fmla="*/ 105342 w 930539"/>
                  <a:gd name="connsiteY8" fmla="*/ 35556 h 408015"/>
                  <a:gd name="connsiteX0" fmla="*/ 105342 w 930539"/>
                  <a:gd name="connsiteY0" fmla="*/ 35556 h 408015"/>
                  <a:gd name="connsiteX1" fmla="*/ 170841 w 930539"/>
                  <a:gd name="connsiteY1" fmla="*/ 37759 h 408015"/>
                  <a:gd name="connsiteX2" fmla="*/ 181232 w 930539"/>
                  <a:gd name="connsiteY2" fmla="*/ 352951 h 408015"/>
                  <a:gd name="connsiteX3" fmla="*/ 711168 w 930539"/>
                  <a:gd name="connsiteY3" fmla="*/ 30832 h 408015"/>
                  <a:gd name="connsiteX4" fmla="*/ 632488 w 930539"/>
                  <a:gd name="connsiteY4" fmla="*/ 354209 h 408015"/>
                  <a:gd name="connsiteX5" fmla="*/ 750253 w 930539"/>
                  <a:gd name="connsiteY5" fmla="*/ 408015 h 408015"/>
                  <a:gd name="connsiteX6" fmla="*/ 669603 w 930539"/>
                  <a:gd name="connsiteY6" fmla="*/ 3120 h 408015"/>
                  <a:gd name="connsiteX7" fmla="*/ 223105 w 930539"/>
                  <a:gd name="connsiteY7" fmla="*/ 345666 h 408015"/>
                  <a:gd name="connsiteX8" fmla="*/ 105342 w 930539"/>
                  <a:gd name="connsiteY8" fmla="*/ 35556 h 408015"/>
                  <a:gd name="connsiteX0" fmla="*/ 105342 w 930539"/>
                  <a:gd name="connsiteY0" fmla="*/ 35556 h 408015"/>
                  <a:gd name="connsiteX1" fmla="*/ 170841 w 930539"/>
                  <a:gd name="connsiteY1" fmla="*/ 37759 h 408015"/>
                  <a:gd name="connsiteX2" fmla="*/ 229723 w 930539"/>
                  <a:gd name="connsiteY2" fmla="*/ 370269 h 408015"/>
                  <a:gd name="connsiteX3" fmla="*/ 711168 w 930539"/>
                  <a:gd name="connsiteY3" fmla="*/ 30832 h 408015"/>
                  <a:gd name="connsiteX4" fmla="*/ 632488 w 930539"/>
                  <a:gd name="connsiteY4" fmla="*/ 354209 h 408015"/>
                  <a:gd name="connsiteX5" fmla="*/ 750253 w 930539"/>
                  <a:gd name="connsiteY5" fmla="*/ 408015 h 408015"/>
                  <a:gd name="connsiteX6" fmla="*/ 669603 w 930539"/>
                  <a:gd name="connsiteY6" fmla="*/ 3120 h 408015"/>
                  <a:gd name="connsiteX7" fmla="*/ 223105 w 930539"/>
                  <a:gd name="connsiteY7" fmla="*/ 345666 h 408015"/>
                  <a:gd name="connsiteX8" fmla="*/ 105342 w 930539"/>
                  <a:gd name="connsiteY8" fmla="*/ 35556 h 408015"/>
                  <a:gd name="connsiteX0" fmla="*/ 105342 w 930539"/>
                  <a:gd name="connsiteY0" fmla="*/ 35556 h 408015"/>
                  <a:gd name="connsiteX1" fmla="*/ 170841 w 930539"/>
                  <a:gd name="connsiteY1" fmla="*/ 37759 h 408015"/>
                  <a:gd name="connsiteX2" fmla="*/ 229723 w 930539"/>
                  <a:gd name="connsiteY2" fmla="*/ 370269 h 408015"/>
                  <a:gd name="connsiteX3" fmla="*/ 711168 w 930539"/>
                  <a:gd name="connsiteY3" fmla="*/ 30832 h 408015"/>
                  <a:gd name="connsiteX4" fmla="*/ 632488 w 930539"/>
                  <a:gd name="connsiteY4" fmla="*/ 354209 h 408015"/>
                  <a:gd name="connsiteX5" fmla="*/ 750253 w 930539"/>
                  <a:gd name="connsiteY5" fmla="*/ 408015 h 408015"/>
                  <a:gd name="connsiteX6" fmla="*/ 669603 w 930539"/>
                  <a:gd name="connsiteY6" fmla="*/ 3120 h 408015"/>
                  <a:gd name="connsiteX7" fmla="*/ 223105 w 930539"/>
                  <a:gd name="connsiteY7" fmla="*/ 345666 h 408015"/>
                  <a:gd name="connsiteX8" fmla="*/ 105342 w 930539"/>
                  <a:gd name="connsiteY8" fmla="*/ 35556 h 408015"/>
                  <a:gd name="connsiteX0" fmla="*/ 105342 w 930539"/>
                  <a:gd name="connsiteY0" fmla="*/ 35556 h 408015"/>
                  <a:gd name="connsiteX1" fmla="*/ 170841 w 930539"/>
                  <a:gd name="connsiteY1" fmla="*/ 37759 h 408015"/>
                  <a:gd name="connsiteX2" fmla="*/ 229723 w 930539"/>
                  <a:gd name="connsiteY2" fmla="*/ 370269 h 408015"/>
                  <a:gd name="connsiteX3" fmla="*/ 711168 w 930539"/>
                  <a:gd name="connsiteY3" fmla="*/ 30832 h 408015"/>
                  <a:gd name="connsiteX4" fmla="*/ 632488 w 930539"/>
                  <a:gd name="connsiteY4" fmla="*/ 354209 h 408015"/>
                  <a:gd name="connsiteX5" fmla="*/ 750253 w 930539"/>
                  <a:gd name="connsiteY5" fmla="*/ 408015 h 408015"/>
                  <a:gd name="connsiteX6" fmla="*/ 669603 w 930539"/>
                  <a:gd name="connsiteY6" fmla="*/ 3120 h 408015"/>
                  <a:gd name="connsiteX7" fmla="*/ 223105 w 930539"/>
                  <a:gd name="connsiteY7" fmla="*/ 345666 h 408015"/>
                  <a:gd name="connsiteX8" fmla="*/ 105342 w 930539"/>
                  <a:gd name="connsiteY8" fmla="*/ 35556 h 408015"/>
                  <a:gd name="connsiteX0" fmla="*/ 105342 w 930539"/>
                  <a:gd name="connsiteY0" fmla="*/ 35556 h 408015"/>
                  <a:gd name="connsiteX1" fmla="*/ 170841 w 930539"/>
                  <a:gd name="connsiteY1" fmla="*/ 37759 h 408015"/>
                  <a:gd name="connsiteX2" fmla="*/ 229723 w 930539"/>
                  <a:gd name="connsiteY2" fmla="*/ 370269 h 408015"/>
                  <a:gd name="connsiteX3" fmla="*/ 711168 w 930539"/>
                  <a:gd name="connsiteY3" fmla="*/ 30832 h 408015"/>
                  <a:gd name="connsiteX4" fmla="*/ 632488 w 930539"/>
                  <a:gd name="connsiteY4" fmla="*/ 354209 h 408015"/>
                  <a:gd name="connsiteX5" fmla="*/ 750253 w 930539"/>
                  <a:gd name="connsiteY5" fmla="*/ 408015 h 408015"/>
                  <a:gd name="connsiteX6" fmla="*/ 669603 w 930539"/>
                  <a:gd name="connsiteY6" fmla="*/ 3120 h 408015"/>
                  <a:gd name="connsiteX7" fmla="*/ 223105 w 930539"/>
                  <a:gd name="connsiteY7" fmla="*/ 345666 h 408015"/>
                  <a:gd name="connsiteX8" fmla="*/ 105342 w 930539"/>
                  <a:gd name="connsiteY8" fmla="*/ 35556 h 408015"/>
                  <a:gd name="connsiteX0" fmla="*/ 111595 w 936792"/>
                  <a:gd name="connsiteY0" fmla="*/ 35556 h 408015"/>
                  <a:gd name="connsiteX1" fmla="*/ 177094 w 936792"/>
                  <a:gd name="connsiteY1" fmla="*/ 37759 h 408015"/>
                  <a:gd name="connsiteX2" fmla="*/ 235976 w 936792"/>
                  <a:gd name="connsiteY2" fmla="*/ 370269 h 408015"/>
                  <a:gd name="connsiteX3" fmla="*/ 717421 w 936792"/>
                  <a:gd name="connsiteY3" fmla="*/ 30832 h 408015"/>
                  <a:gd name="connsiteX4" fmla="*/ 638741 w 936792"/>
                  <a:gd name="connsiteY4" fmla="*/ 354209 h 408015"/>
                  <a:gd name="connsiteX5" fmla="*/ 756506 w 936792"/>
                  <a:gd name="connsiteY5" fmla="*/ 408015 h 408015"/>
                  <a:gd name="connsiteX6" fmla="*/ 675856 w 936792"/>
                  <a:gd name="connsiteY6" fmla="*/ 3120 h 408015"/>
                  <a:gd name="connsiteX7" fmla="*/ 212040 w 936792"/>
                  <a:gd name="connsiteY7" fmla="*/ 373375 h 408015"/>
                  <a:gd name="connsiteX8" fmla="*/ 111595 w 936792"/>
                  <a:gd name="connsiteY8" fmla="*/ 35556 h 408015"/>
                  <a:gd name="connsiteX0" fmla="*/ 104452 w 929649"/>
                  <a:gd name="connsiteY0" fmla="*/ 35556 h 408015"/>
                  <a:gd name="connsiteX1" fmla="*/ 169951 w 929649"/>
                  <a:gd name="connsiteY1" fmla="*/ 37759 h 408015"/>
                  <a:gd name="connsiteX2" fmla="*/ 228833 w 929649"/>
                  <a:gd name="connsiteY2" fmla="*/ 370269 h 408015"/>
                  <a:gd name="connsiteX3" fmla="*/ 710278 w 929649"/>
                  <a:gd name="connsiteY3" fmla="*/ 30832 h 408015"/>
                  <a:gd name="connsiteX4" fmla="*/ 631598 w 929649"/>
                  <a:gd name="connsiteY4" fmla="*/ 354209 h 408015"/>
                  <a:gd name="connsiteX5" fmla="*/ 749363 w 929649"/>
                  <a:gd name="connsiteY5" fmla="*/ 408015 h 408015"/>
                  <a:gd name="connsiteX6" fmla="*/ 668713 w 929649"/>
                  <a:gd name="connsiteY6" fmla="*/ 3120 h 408015"/>
                  <a:gd name="connsiteX7" fmla="*/ 204897 w 929649"/>
                  <a:gd name="connsiteY7" fmla="*/ 373375 h 408015"/>
                  <a:gd name="connsiteX8" fmla="*/ 104452 w 929649"/>
                  <a:gd name="connsiteY8" fmla="*/ 35556 h 408015"/>
                  <a:gd name="connsiteX0" fmla="*/ 110549 w 935746"/>
                  <a:gd name="connsiteY0" fmla="*/ 35556 h 408015"/>
                  <a:gd name="connsiteX1" fmla="*/ 176048 w 935746"/>
                  <a:gd name="connsiteY1" fmla="*/ 37759 h 408015"/>
                  <a:gd name="connsiteX2" fmla="*/ 234930 w 935746"/>
                  <a:gd name="connsiteY2" fmla="*/ 370269 h 408015"/>
                  <a:gd name="connsiteX3" fmla="*/ 716375 w 935746"/>
                  <a:gd name="connsiteY3" fmla="*/ 30832 h 408015"/>
                  <a:gd name="connsiteX4" fmla="*/ 637695 w 935746"/>
                  <a:gd name="connsiteY4" fmla="*/ 354209 h 408015"/>
                  <a:gd name="connsiteX5" fmla="*/ 755460 w 935746"/>
                  <a:gd name="connsiteY5" fmla="*/ 408015 h 408015"/>
                  <a:gd name="connsiteX6" fmla="*/ 674810 w 935746"/>
                  <a:gd name="connsiteY6" fmla="*/ 3120 h 408015"/>
                  <a:gd name="connsiteX7" fmla="*/ 210994 w 935746"/>
                  <a:gd name="connsiteY7" fmla="*/ 373375 h 408015"/>
                  <a:gd name="connsiteX8" fmla="*/ 110549 w 935746"/>
                  <a:gd name="connsiteY8" fmla="*/ 35556 h 408015"/>
                  <a:gd name="connsiteX0" fmla="*/ 110549 w 935746"/>
                  <a:gd name="connsiteY0" fmla="*/ 35556 h 408015"/>
                  <a:gd name="connsiteX1" fmla="*/ 176048 w 935746"/>
                  <a:gd name="connsiteY1" fmla="*/ 37759 h 408015"/>
                  <a:gd name="connsiteX2" fmla="*/ 234930 w 935746"/>
                  <a:gd name="connsiteY2" fmla="*/ 370269 h 408015"/>
                  <a:gd name="connsiteX3" fmla="*/ 716375 w 935746"/>
                  <a:gd name="connsiteY3" fmla="*/ 30832 h 408015"/>
                  <a:gd name="connsiteX4" fmla="*/ 637695 w 935746"/>
                  <a:gd name="connsiteY4" fmla="*/ 354209 h 408015"/>
                  <a:gd name="connsiteX5" fmla="*/ 755460 w 935746"/>
                  <a:gd name="connsiteY5" fmla="*/ 408015 h 408015"/>
                  <a:gd name="connsiteX6" fmla="*/ 674810 w 935746"/>
                  <a:gd name="connsiteY6" fmla="*/ 3120 h 408015"/>
                  <a:gd name="connsiteX7" fmla="*/ 210994 w 935746"/>
                  <a:gd name="connsiteY7" fmla="*/ 373375 h 408015"/>
                  <a:gd name="connsiteX8" fmla="*/ 110549 w 935746"/>
                  <a:gd name="connsiteY8" fmla="*/ 35556 h 408015"/>
                  <a:gd name="connsiteX0" fmla="*/ 110549 w 935746"/>
                  <a:gd name="connsiteY0" fmla="*/ 35556 h 408015"/>
                  <a:gd name="connsiteX1" fmla="*/ 176048 w 935746"/>
                  <a:gd name="connsiteY1" fmla="*/ 37759 h 408015"/>
                  <a:gd name="connsiteX2" fmla="*/ 234930 w 935746"/>
                  <a:gd name="connsiteY2" fmla="*/ 370269 h 408015"/>
                  <a:gd name="connsiteX3" fmla="*/ 719839 w 935746"/>
                  <a:gd name="connsiteY3" fmla="*/ 3122 h 408015"/>
                  <a:gd name="connsiteX4" fmla="*/ 637695 w 935746"/>
                  <a:gd name="connsiteY4" fmla="*/ 354209 h 408015"/>
                  <a:gd name="connsiteX5" fmla="*/ 755460 w 935746"/>
                  <a:gd name="connsiteY5" fmla="*/ 408015 h 408015"/>
                  <a:gd name="connsiteX6" fmla="*/ 674810 w 935746"/>
                  <a:gd name="connsiteY6" fmla="*/ 3120 h 408015"/>
                  <a:gd name="connsiteX7" fmla="*/ 210994 w 935746"/>
                  <a:gd name="connsiteY7" fmla="*/ 373375 h 408015"/>
                  <a:gd name="connsiteX8" fmla="*/ 110549 w 935746"/>
                  <a:gd name="connsiteY8" fmla="*/ 35556 h 408015"/>
                  <a:gd name="connsiteX0" fmla="*/ 110549 w 935746"/>
                  <a:gd name="connsiteY0" fmla="*/ 35556 h 408015"/>
                  <a:gd name="connsiteX1" fmla="*/ 148339 w 935746"/>
                  <a:gd name="connsiteY1" fmla="*/ 65468 h 408015"/>
                  <a:gd name="connsiteX2" fmla="*/ 234930 w 935746"/>
                  <a:gd name="connsiteY2" fmla="*/ 370269 h 408015"/>
                  <a:gd name="connsiteX3" fmla="*/ 719839 w 935746"/>
                  <a:gd name="connsiteY3" fmla="*/ 3122 h 408015"/>
                  <a:gd name="connsiteX4" fmla="*/ 637695 w 935746"/>
                  <a:gd name="connsiteY4" fmla="*/ 354209 h 408015"/>
                  <a:gd name="connsiteX5" fmla="*/ 755460 w 935746"/>
                  <a:gd name="connsiteY5" fmla="*/ 408015 h 408015"/>
                  <a:gd name="connsiteX6" fmla="*/ 674810 w 935746"/>
                  <a:gd name="connsiteY6" fmla="*/ 3120 h 408015"/>
                  <a:gd name="connsiteX7" fmla="*/ 210994 w 935746"/>
                  <a:gd name="connsiteY7" fmla="*/ 373375 h 408015"/>
                  <a:gd name="connsiteX8" fmla="*/ 110549 w 935746"/>
                  <a:gd name="connsiteY8" fmla="*/ 35556 h 408015"/>
                  <a:gd name="connsiteX0" fmla="*/ 110549 w 935746"/>
                  <a:gd name="connsiteY0" fmla="*/ 35556 h 408015"/>
                  <a:gd name="connsiteX1" fmla="*/ 148339 w 935746"/>
                  <a:gd name="connsiteY1" fmla="*/ 65468 h 408015"/>
                  <a:gd name="connsiteX2" fmla="*/ 234930 w 935746"/>
                  <a:gd name="connsiteY2" fmla="*/ 370269 h 408015"/>
                  <a:gd name="connsiteX3" fmla="*/ 719839 w 935746"/>
                  <a:gd name="connsiteY3" fmla="*/ 3122 h 408015"/>
                  <a:gd name="connsiteX4" fmla="*/ 637695 w 935746"/>
                  <a:gd name="connsiteY4" fmla="*/ 354209 h 408015"/>
                  <a:gd name="connsiteX5" fmla="*/ 755460 w 935746"/>
                  <a:gd name="connsiteY5" fmla="*/ 408015 h 408015"/>
                  <a:gd name="connsiteX6" fmla="*/ 674810 w 935746"/>
                  <a:gd name="connsiteY6" fmla="*/ 3120 h 408015"/>
                  <a:gd name="connsiteX7" fmla="*/ 210994 w 935746"/>
                  <a:gd name="connsiteY7" fmla="*/ 373375 h 408015"/>
                  <a:gd name="connsiteX8" fmla="*/ 110549 w 935746"/>
                  <a:gd name="connsiteY8" fmla="*/ 35556 h 408015"/>
                  <a:gd name="connsiteX0" fmla="*/ 110549 w 935746"/>
                  <a:gd name="connsiteY0" fmla="*/ 35556 h 408015"/>
                  <a:gd name="connsiteX1" fmla="*/ 148339 w 935746"/>
                  <a:gd name="connsiteY1" fmla="*/ 65468 h 408015"/>
                  <a:gd name="connsiteX2" fmla="*/ 234930 w 935746"/>
                  <a:gd name="connsiteY2" fmla="*/ 370269 h 408015"/>
                  <a:gd name="connsiteX3" fmla="*/ 719839 w 935746"/>
                  <a:gd name="connsiteY3" fmla="*/ 3122 h 408015"/>
                  <a:gd name="connsiteX4" fmla="*/ 637695 w 935746"/>
                  <a:gd name="connsiteY4" fmla="*/ 354209 h 408015"/>
                  <a:gd name="connsiteX5" fmla="*/ 755460 w 935746"/>
                  <a:gd name="connsiteY5" fmla="*/ 408015 h 408015"/>
                  <a:gd name="connsiteX6" fmla="*/ 674810 w 935746"/>
                  <a:gd name="connsiteY6" fmla="*/ 3120 h 408015"/>
                  <a:gd name="connsiteX7" fmla="*/ 210994 w 935746"/>
                  <a:gd name="connsiteY7" fmla="*/ 373375 h 408015"/>
                  <a:gd name="connsiteX8" fmla="*/ 110549 w 935746"/>
                  <a:gd name="connsiteY8" fmla="*/ 35556 h 408015"/>
                  <a:gd name="connsiteX0" fmla="*/ 110549 w 935746"/>
                  <a:gd name="connsiteY0" fmla="*/ 35556 h 408015"/>
                  <a:gd name="connsiteX1" fmla="*/ 148339 w 935746"/>
                  <a:gd name="connsiteY1" fmla="*/ 65468 h 408015"/>
                  <a:gd name="connsiteX2" fmla="*/ 234930 w 935746"/>
                  <a:gd name="connsiteY2" fmla="*/ 370269 h 408015"/>
                  <a:gd name="connsiteX3" fmla="*/ 719839 w 935746"/>
                  <a:gd name="connsiteY3" fmla="*/ 3122 h 408015"/>
                  <a:gd name="connsiteX4" fmla="*/ 637695 w 935746"/>
                  <a:gd name="connsiteY4" fmla="*/ 354209 h 408015"/>
                  <a:gd name="connsiteX5" fmla="*/ 755460 w 935746"/>
                  <a:gd name="connsiteY5" fmla="*/ 408015 h 408015"/>
                  <a:gd name="connsiteX6" fmla="*/ 674810 w 935746"/>
                  <a:gd name="connsiteY6" fmla="*/ 3120 h 408015"/>
                  <a:gd name="connsiteX7" fmla="*/ 210994 w 935746"/>
                  <a:gd name="connsiteY7" fmla="*/ 373375 h 408015"/>
                  <a:gd name="connsiteX8" fmla="*/ 110549 w 935746"/>
                  <a:gd name="connsiteY8" fmla="*/ 35556 h 408015"/>
                  <a:gd name="connsiteX0" fmla="*/ 110549 w 935746"/>
                  <a:gd name="connsiteY0" fmla="*/ 35556 h 408015"/>
                  <a:gd name="connsiteX1" fmla="*/ 148339 w 935746"/>
                  <a:gd name="connsiteY1" fmla="*/ 65468 h 408015"/>
                  <a:gd name="connsiteX2" fmla="*/ 234930 w 935746"/>
                  <a:gd name="connsiteY2" fmla="*/ 370269 h 408015"/>
                  <a:gd name="connsiteX3" fmla="*/ 719839 w 935746"/>
                  <a:gd name="connsiteY3" fmla="*/ 3122 h 408015"/>
                  <a:gd name="connsiteX4" fmla="*/ 637695 w 935746"/>
                  <a:gd name="connsiteY4" fmla="*/ 354209 h 408015"/>
                  <a:gd name="connsiteX5" fmla="*/ 755460 w 935746"/>
                  <a:gd name="connsiteY5" fmla="*/ 408015 h 408015"/>
                  <a:gd name="connsiteX6" fmla="*/ 674810 w 935746"/>
                  <a:gd name="connsiteY6" fmla="*/ 3120 h 408015"/>
                  <a:gd name="connsiteX7" fmla="*/ 210994 w 935746"/>
                  <a:gd name="connsiteY7" fmla="*/ 373375 h 408015"/>
                  <a:gd name="connsiteX8" fmla="*/ 110549 w 935746"/>
                  <a:gd name="connsiteY8" fmla="*/ 35556 h 408015"/>
                  <a:gd name="connsiteX0" fmla="*/ 110549 w 935746"/>
                  <a:gd name="connsiteY0" fmla="*/ 35556 h 408015"/>
                  <a:gd name="connsiteX1" fmla="*/ 148339 w 935746"/>
                  <a:gd name="connsiteY1" fmla="*/ 65468 h 408015"/>
                  <a:gd name="connsiteX2" fmla="*/ 234930 w 935746"/>
                  <a:gd name="connsiteY2" fmla="*/ 370269 h 408015"/>
                  <a:gd name="connsiteX3" fmla="*/ 719839 w 935746"/>
                  <a:gd name="connsiteY3" fmla="*/ 3122 h 408015"/>
                  <a:gd name="connsiteX4" fmla="*/ 637695 w 935746"/>
                  <a:gd name="connsiteY4" fmla="*/ 354209 h 408015"/>
                  <a:gd name="connsiteX5" fmla="*/ 755460 w 935746"/>
                  <a:gd name="connsiteY5" fmla="*/ 408015 h 408015"/>
                  <a:gd name="connsiteX6" fmla="*/ 674810 w 935746"/>
                  <a:gd name="connsiteY6" fmla="*/ 3120 h 408015"/>
                  <a:gd name="connsiteX7" fmla="*/ 210994 w 935746"/>
                  <a:gd name="connsiteY7" fmla="*/ 373375 h 408015"/>
                  <a:gd name="connsiteX8" fmla="*/ 110549 w 935746"/>
                  <a:gd name="connsiteY8" fmla="*/ 35556 h 408015"/>
                  <a:gd name="connsiteX0" fmla="*/ 110549 w 935746"/>
                  <a:gd name="connsiteY0" fmla="*/ 35556 h 408015"/>
                  <a:gd name="connsiteX1" fmla="*/ 131020 w 935746"/>
                  <a:gd name="connsiteY1" fmla="*/ 79322 h 408015"/>
                  <a:gd name="connsiteX2" fmla="*/ 234930 w 935746"/>
                  <a:gd name="connsiteY2" fmla="*/ 370269 h 408015"/>
                  <a:gd name="connsiteX3" fmla="*/ 719839 w 935746"/>
                  <a:gd name="connsiteY3" fmla="*/ 3122 h 408015"/>
                  <a:gd name="connsiteX4" fmla="*/ 637695 w 935746"/>
                  <a:gd name="connsiteY4" fmla="*/ 354209 h 408015"/>
                  <a:gd name="connsiteX5" fmla="*/ 755460 w 935746"/>
                  <a:gd name="connsiteY5" fmla="*/ 408015 h 408015"/>
                  <a:gd name="connsiteX6" fmla="*/ 674810 w 935746"/>
                  <a:gd name="connsiteY6" fmla="*/ 3120 h 408015"/>
                  <a:gd name="connsiteX7" fmla="*/ 210994 w 935746"/>
                  <a:gd name="connsiteY7" fmla="*/ 373375 h 408015"/>
                  <a:gd name="connsiteX8" fmla="*/ 110549 w 935746"/>
                  <a:gd name="connsiteY8" fmla="*/ 35556 h 408015"/>
                  <a:gd name="connsiteX0" fmla="*/ 72992 w 912044"/>
                  <a:gd name="connsiteY0" fmla="*/ 35556 h 408015"/>
                  <a:gd name="connsiteX1" fmla="*/ 107318 w 912044"/>
                  <a:gd name="connsiteY1" fmla="*/ 79322 h 408015"/>
                  <a:gd name="connsiteX2" fmla="*/ 211228 w 912044"/>
                  <a:gd name="connsiteY2" fmla="*/ 370269 h 408015"/>
                  <a:gd name="connsiteX3" fmla="*/ 696137 w 912044"/>
                  <a:gd name="connsiteY3" fmla="*/ 3122 h 408015"/>
                  <a:gd name="connsiteX4" fmla="*/ 613993 w 912044"/>
                  <a:gd name="connsiteY4" fmla="*/ 354209 h 408015"/>
                  <a:gd name="connsiteX5" fmla="*/ 731758 w 912044"/>
                  <a:gd name="connsiteY5" fmla="*/ 408015 h 408015"/>
                  <a:gd name="connsiteX6" fmla="*/ 651108 w 912044"/>
                  <a:gd name="connsiteY6" fmla="*/ 3120 h 408015"/>
                  <a:gd name="connsiteX7" fmla="*/ 187292 w 912044"/>
                  <a:gd name="connsiteY7" fmla="*/ 373375 h 408015"/>
                  <a:gd name="connsiteX8" fmla="*/ 72992 w 912044"/>
                  <a:gd name="connsiteY8" fmla="*/ 35556 h 408015"/>
                  <a:gd name="connsiteX0" fmla="*/ 95861 w 934913"/>
                  <a:gd name="connsiteY0" fmla="*/ 35556 h 408015"/>
                  <a:gd name="connsiteX1" fmla="*/ 130187 w 934913"/>
                  <a:gd name="connsiteY1" fmla="*/ 79322 h 408015"/>
                  <a:gd name="connsiteX2" fmla="*/ 234097 w 934913"/>
                  <a:gd name="connsiteY2" fmla="*/ 370269 h 408015"/>
                  <a:gd name="connsiteX3" fmla="*/ 719006 w 934913"/>
                  <a:gd name="connsiteY3" fmla="*/ 3122 h 408015"/>
                  <a:gd name="connsiteX4" fmla="*/ 636862 w 934913"/>
                  <a:gd name="connsiteY4" fmla="*/ 354209 h 408015"/>
                  <a:gd name="connsiteX5" fmla="*/ 754627 w 934913"/>
                  <a:gd name="connsiteY5" fmla="*/ 408015 h 408015"/>
                  <a:gd name="connsiteX6" fmla="*/ 673977 w 934913"/>
                  <a:gd name="connsiteY6" fmla="*/ 3120 h 408015"/>
                  <a:gd name="connsiteX7" fmla="*/ 210161 w 934913"/>
                  <a:gd name="connsiteY7" fmla="*/ 373375 h 408015"/>
                  <a:gd name="connsiteX8" fmla="*/ 95861 w 934913"/>
                  <a:gd name="connsiteY8" fmla="*/ 35556 h 408015"/>
                  <a:gd name="connsiteX0" fmla="*/ 128786 w 967838"/>
                  <a:gd name="connsiteY0" fmla="*/ 35556 h 408015"/>
                  <a:gd name="connsiteX1" fmla="*/ 163112 w 967838"/>
                  <a:gd name="connsiteY1" fmla="*/ 79322 h 408015"/>
                  <a:gd name="connsiteX2" fmla="*/ 267022 w 967838"/>
                  <a:gd name="connsiteY2" fmla="*/ 370269 h 408015"/>
                  <a:gd name="connsiteX3" fmla="*/ 751931 w 967838"/>
                  <a:gd name="connsiteY3" fmla="*/ 3122 h 408015"/>
                  <a:gd name="connsiteX4" fmla="*/ 669787 w 967838"/>
                  <a:gd name="connsiteY4" fmla="*/ 354209 h 408015"/>
                  <a:gd name="connsiteX5" fmla="*/ 787552 w 967838"/>
                  <a:gd name="connsiteY5" fmla="*/ 408015 h 408015"/>
                  <a:gd name="connsiteX6" fmla="*/ 706902 w 967838"/>
                  <a:gd name="connsiteY6" fmla="*/ 3120 h 408015"/>
                  <a:gd name="connsiteX7" fmla="*/ 243086 w 967838"/>
                  <a:gd name="connsiteY7" fmla="*/ 373375 h 408015"/>
                  <a:gd name="connsiteX8" fmla="*/ 128786 w 967838"/>
                  <a:gd name="connsiteY8" fmla="*/ 35556 h 408015"/>
                  <a:gd name="connsiteX0" fmla="*/ 100245 w 939297"/>
                  <a:gd name="connsiteY0" fmla="*/ 35556 h 408015"/>
                  <a:gd name="connsiteX1" fmla="*/ 134571 w 939297"/>
                  <a:gd name="connsiteY1" fmla="*/ 79322 h 408015"/>
                  <a:gd name="connsiteX2" fmla="*/ 238481 w 939297"/>
                  <a:gd name="connsiteY2" fmla="*/ 370269 h 408015"/>
                  <a:gd name="connsiteX3" fmla="*/ 723390 w 939297"/>
                  <a:gd name="connsiteY3" fmla="*/ 3122 h 408015"/>
                  <a:gd name="connsiteX4" fmla="*/ 641246 w 939297"/>
                  <a:gd name="connsiteY4" fmla="*/ 354209 h 408015"/>
                  <a:gd name="connsiteX5" fmla="*/ 759011 w 939297"/>
                  <a:gd name="connsiteY5" fmla="*/ 408015 h 408015"/>
                  <a:gd name="connsiteX6" fmla="*/ 678361 w 939297"/>
                  <a:gd name="connsiteY6" fmla="*/ 3120 h 408015"/>
                  <a:gd name="connsiteX7" fmla="*/ 214545 w 939297"/>
                  <a:gd name="connsiteY7" fmla="*/ 373375 h 408015"/>
                  <a:gd name="connsiteX8" fmla="*/ 100245 w 939297"/>
                  <a:gd name="connsiteY8" fmla="*/ 35556 h 408015"/>
                  <a:gd name="connsiteX0" fmla="*/ 100245 w 939297"/>
                  <a:gd name="connsiteY0" fmla="*/ 35556 h 408015"/>
                  <a:gd name="connsiteX1" fmla="*/ 106862 w 939297"/>
                  <a:gd name="connsiteY1" fmla="*/ 51613 h 408015"/>
                  <a:gd name="connsiteX2" fmla="*/ 238481 w 939297"/>
                  <a:gd name="connsiteY2" fmla="*/ 370269 h 408015"/>
                  <a:gd name="connsiteX3" fmla="*/ 723390 w 939297"/>
                  <a:gd name="connsiteY3" fmla="*/ 3122 h 408015"/>
                  <a:gd name="connsiteX4" fmla="*/ 641246 w 939297"/>
                  <a:gd name="connsiteY4" fmla="*/ 354209 h 408015"/>
                  <a:gd name="connsiteX5" fmla="*/ 759011 w 939297"/>
                  <a:gd name="connsiteY5" fmla="*/ 408015 h 408015"/>
                  <a:gd name="connsiteX6" fmla="*/ 678361 w 939297"/>
                  <a:gd name="connsiteY6" fmla="*/ 3120 h 408015"/>
                  <a:gd name="connsiteX7" fmla="*/ 214545 w 939297"/>
                  <a:gd name="connsiteY7" fmla="*/ 373375 h 408015"/>
                  <a:gd name="connsiteX8" fmla="*/ 100245 w 939297"/>
                  <a:gd name="connsiteY8" fmla="*/ 35556 h 408015"/>
                  <a:gd name="connsiteX0" fmla="*/ 100245 w 939297"/>
                  <a:gd name="connsiteY0" fmla="*/ 35556 h 408015"/>
                  <a:gd name="connsiteX1" fmla="*/ 106862 w 939297"/>
                  <a:gd name="connsiteY1" fmla="*/ 51613 h 408015"/>
                  <a:gd name="connsiteX2" fmla="*/ 238481 w 939297"/>
                  <a:gd name="connsiteY2" fmla="*/ 370269 h 408015"/>
                  <a:gd name="connsiteX3" fmla="*/ 723390 w 939297"/>
                  <a:gd name="connsiteY3" fmla="*/ 3122 h 408015"/>
                  <a:gd name="connsiteX4" fmla="*/ 641246 w 939297"/>
                  <a:gd name="connsiteY4" fmla="*/ 354209 h 408015"/>
                  <a:gd name="connsiteX5" fmla="*/ 759011 w 939297"/>
                  <a:gd name="connsiteY5" fmla="*/ 408015 h 408015"/>
                  <a:gd name="connsiteX6" fmla="*/ 678361 w 939297"/>
                  <a:gd name="connsiteY6" fmla="*/ 3120 h 408015"/>
                  <a:gd name="connsiteX7" fmla="*/ 214545 w 939297"/>
                  <a:gd name="connsiteY7" fmla="*/ 373375 h 408015"/>
                  <a:gd name="connsiteX8" fmla="*/ 100245 w 939297"/>
                  <a:gd name="connsiteY8" fmla="*/ 35556 h 408015"/>
                  <a:gd name="connsiteX0" fmla="*/ 100245 w 939297"/>
                  <a:gd name="connsiteY0" fmla="*/ 35556 h 408015"/>
                  <a:gd name="connsiteX1" fmla="*/ 106862 w 939297"/>
                  <a:gd name="connsiteY1" fmla="*/ 51613 h 408015"/>
                  <a:gd name="connsiteX2" fmla="*/ 238481 w 939297"/>
                  <a:gd name="connsiteY2" fmla="*/ 370269 h 408015"/>
                  <a:gd name="connsiteX3" fmla="*/ 723390 w 939297"/>
                  <a:gd name="connsiteY3" fmla="*/ 3122 h 408015"/>
                  <a:gd name="connsiteX4" fmla="*/ 641246 w 939297"/>
                  <a:gd name="connsiteY4" fmla="*/ 354209 h 408015"/>
                  <a:gd name="connsiteX5" fmla="*/ 759011 w 939297"/>
                  <a:gd name="connsiteY5" fmla="*/ 408015 h 408015"/>
                  <a:gd name="connsiteX6" fmla="*/ 678361 w 939297"/>
                  <a:gd name="connsiteY6" fmla="*/ 3120 h 408015"/>
                  <a:gd name="connsiteX7" fmla="*/ 214545 w 939297"/>
                  <a:gd name="connsiteY7" fmla="*/ 373375 h 408015"/>
                  <a:gd name="connsiteX8" fmla="*/ 100245 w 939297"/>
                  <a:gd name="connsiteY8" fmla="*/ 35556 h 408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9297" h="408015">
                    <a:moveTo>
                      <a:pt x="100245" y="35556"/>
                    </a:moveTo>
                    <a:cubicBezTo>
                      <a:pt x="114625" y="43120"/>
                      <a:pt x="70545" y="31618"/>
                      <a:pt x="106862" y="51613"/>
                    </a:cubicBezTo>
                    <a:cubicBezTo>
                      <a:pt x="-33466" y="158199"/>
                      <a:pt x="88391" y="327552"/>
                      <a:pt x="238481" y="370269"/>
                    </a:cubicBezTo>
                    <a:cubicBezTo>
                      <a:pt x="557663" y="393728"/>
                      <a:pt x="507902" y="68144"/>
                      <a:pt x="723390" y="3122"/>
                    </a:cubicBezTo>
                    <a:cubicBezTo>
                      <a:pt x="925763" y="76277"/>
                      <a:pt x="764454" y="315691"/>
                      <a:pt x="641246" y="354209"/>
                    </a:cubicBezTo>
                    <a:lnTo>
                      <a:pt x="759011" y="408015"/>
                    </a:lnTo>
                    <a:cubicBezTo>
                      <a:pt x="1071565" y="249959"/>
                      <a:pt x="933843" y="-32788"/>
                      <a:pt x="678361" y="3120"/>
                    </a:cubicBezTo>
                    <a:cubicBezTo>
                      <a:pt x="352883" y="45721"/>
                      <a:pt x="452907" y="357578"/>
                      <a:pt x="214545" y="373375"/>
                    </a:cubicBezTo>
                    <a:cubicBezTo>
                      <a:pt x="-23817" y="389172"/>
                      <a:pt x="-66009" y="91589"/>
                      <a:pt x="100245" y="3555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70C0"/>
                  </a:gs>
                  <a:gs pos="9000">
                    <a:srgbClr val="29C7FF"/>
                  </a:gs>
                  <a:gs pos="51000">
                    <a:srgbClr val="33CAFF"/>
                  </a:gs>
                  <a:gs pos="32000">
                    <a:srgbClr val="0070C0"/>
                  </a:gs>
                  <a:gs pos="97000">
                    <a:srgbClr val="005EA4"/>
                  </a:gs>
                  <a:gs pos="89000">
                    <a:srgbClr val="0070C0"/>
                  </a:gs>
                </a:gsLst>
                <a:lin ang="0" scaled="1"/>
                <a:tileRect/>
              </a:gradFill>
              <a:ln w="6350" cap="flat" cmpd="sng" algn="ctr">
                <a:solidFill>
                  <a:srgbClr val="1C2638">
                    <a:lumMod val="75000"/>
                    <a:lumOff val="25000"/>
                    <a:alpha val="77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  <p:sp>
            <p:nvSpPr>
              <p:cNvPr id="115" name="Ovaal 114"/>
              <p:cNvSpPr/>
              <p:nvPr userDrawn="1"/>
            </p:nvSpPr>
            <p:spPr>
              <a:xfrm flipV="1">
                <a:off x="11012327" y="2951356"/>
                <a:ext cx="45720" cy="45720"/>
              </a:xfrm>
              <a:prstGeom prst="ellipse">
                <a:avLst/>
              </a:prstGeom>
              <a:solidFill>
                <a:srgbClr val="1D1D1B">
                  <a:lumMod val="50000"/>
                  <a:lumOff val="50000"/>
                  <a:alpha val="99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</p:grpSp>
        <p:grpSp>
          <p:nvGrpSpPr>
            <p:cNvPr id="86" name="Instruction Image Cropping"/>
            <p:cNvGrpSpPr/>
            <p:nvPr/>
          </p:nvGrpSpPr>
          <p:grpSpPr>
            <a:xfrm>
              <a:off x="12346582" y="-5444"/>
              <a:ext cx="2733484" cy="6868888"/>
              <a:chOff x="12346582" y="-5444"/>
              <a:chExt cx="2733484" cy="6868888"/>
            </a:xfrm>
          </p:grpSpPr>
          <p:grpSp>
            <p:nvGrpSpPr>
              <p:cNvPr id="87" name="bijsnijden"/>
              <p:cNvGrpSpPr/>
              <p:nvPr userDrawn="1"/>
            </p:nvGrpSpPr>
            <p:grpSpPr>
              <a:xfrm>
                <a:off x="12346582" y="5717305"/>
                <a:ext cx="779464" cy="828260"/>
                <a:chOff x="13143038" y="5655940"/>
                <a:chExt cx="779464" cy="828260"/>
              </a:xfrm>
            </p:grpSpPr>
            <p:grpSp>
              <p:nvGrpSpPr>
                <p:cNvPr id="104" name="Groep 103"/>
                <p:cNvGrpSpPr/>
                <p:nvPr userDrawn="1"/>
              </p:nvGrpSpPr>
              <p:grpSpPr>
                <a:xfrm>
                  <a:off x="13284702" y="5655940"/>
                  <a:ext cx="518384" cy="468745"/>
                  <a:chOff x="13352037" y="5715656"/>
                  <a:chExt cx="383714" cy="346970"/>
                </a:xfrm>
              </p:grpSpPr>
              <p:sp>
                <p:nvSpPr>
                  <p:cNvPr id="107" name="Rechthoek 106"/>
                  <p:cNvSpPr/>
                  <p:nvPr userDrawn="1"/>
                </p:nvSpPr>
                <p:spPr>
                  <a:xfrm>
                    <a:off x="13377881" y="5717160"/>
                    <a:ext cx="324866" cy="270269"/>
                  </a:xfrm>
                  <a:prstGeom prst="rect">
                    <a:avLst/>
                  </a:prstGeom>
                  <a:noFill/>
                  <a:ln w="9525">
                    <a:solidFill>
                      <a:schemeClr val="tx1">
                        <a:lumMod val="65000"/>
                        <a:lumOff val="35000"/>
                      </a:schemeClr>
                    </a:solidFill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ts val="350"/>
                      </a:spcBef>
                      <a:spcAft>
                        <a:spcPts val="350"/>
                      </a:spcAft>
                    </a:pPr>
                    <a:endParaRPr lang="en-US" sz="1600" dirty="0" err="1">
                      <a:solidFill>
                        <a:schemeClr val="accent4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endParaRPr>
                  </a:p>
                </p:txBody>
              </p:sp>
              <p:pic>
                <p:nvPicPr>
                  <p:cNvPr id="108" name="Afbeelding 107"/>
                  <p:cNvPicPr>
                    <a:picLocks noChangeAspect="1"/>
                  </p:cNvPicPr>
                  <p:nvPr userDrawn="1"/>
                </p:nvPicPr>
                <p:blipFill rotWithShape="1">
                  <a:blip r:embed="rId2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r="15865"/>
                  <a:stretch/>
                </p:blipFill>
                <p:spPr>
                  <a:xfrm>
                    <a:off x="13352037" y="5715656"/>
                    <a:ext cx="231884" cy="275611"/>
                  </a:xfrm>
                  <a:prstGeom prst="rect">
                    <a:avLst/>
                  </a:prstGeom>
                  <a:ln w="9525">
                    <a:solidFill>
                      <a:schemeClr val="bg1">
                        <a:lumMod val="50000"/>
                      </a:schemeClr>
                    </a:solidFill>
                  </a:ln>
                </p:spPr>
              </p:pic>
              <p:sp>
                <p:nvSpPr>
                  <p:cNvPr id="109" name="L-vorm 108"/>
                  <p:cNvSpPr/>
                  <p:nvPr userDrawn="1"/>
                </p:nvSpPr>
                <p:spPr>
                  <a:xfrm rot="5400000">
                    <a:off x="13595231" y="5922107"/>
                    <a:ext cx="129209" cy="151830"/>
                  </a:xfrm>
                  <a:prstGeom prst="corner">
                    <a:avLst>
                      <a:gd name="adj1" fmla="val 14726"/>
                      <a:gd name="adj2" fmla="val 14726"/>
                    </a:avLst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ts val="350"/>
                      </a:spcBef>
                      <a:spcAft>
                        <a:spcPts val="350"/>
                      </a:spcAft>
                    </a:pPr>
                    <a:endParaRPr lang="en-US" sz="1600" dirty="0" err="1">
                      <a:solidFill>
                        <a:schemeClr val="accent4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10" name="L-vorm 109"/>
                  <p:cNvSpPr/>
                  <p:nvPr userDrawn="1"/>
                </p:nvSpPr>
                <p:spPr>
                  <a:xfrm rot="5400000" flipH="1" flipV="1">
                    <a:off x="13571296" y="5896455"/>
                    <a:ext cx="129209" cy="151830"/>
                  </a:xfrm>
                  <a:prstGeom prst="corner">
                    <a:avLst>
                      <a:gd name="adj1" fmla="val 14726"/>
                      <a:gd name="adj2" fmla="val 14726"/>
                    </a:avLst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Bef>
                        <a:spcPts val="350"/>
                      </a:spcBef>
                      <a:spcAft>
                        <a:spcPts val="350"/>
                      </a:spcAft>
                    </a:pPr>
                    <a:endParaRPr lang="en-US" sz="1600" dirty="0" err="1">
                      <a:solidFill>
                        <a:schemeClr val="accent4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endParaRPr>
                  </a:p>
                </p:txBody>
              </p:sp>
            </p:grpSp>
            <p:sp>
              <p:nvSpPr>
                <p:cNvPr id="105" name="Tekstvak 76"/>
                <p:cNvSpPr txBox="1"/>
                <p:nvPr userDrawn="1"/>
              </p:nvSpPr>
              <p:spPr>
                <a:xfrm>
                  <a:off x="13143038" y="6165304"/>
                  <a:ext cx="779464" cy="261610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50" b="1" i="0" u="none" strike="noStrike" kern="0" cap="none" spc="0" normalizeH="0" baseline="0" noProof="0" dirty="0">
                      <a:ln>
                        <a:noFill/>
                      </a:ln>
                      <a:effectLst>
                        <a:outerShdw blurRad="25400" algn="ctr" rotWithShape="0">
                          <a:prstClr val="white"/>
                        </a:outerShdw>
                      </a:effectLst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Crop</a:t>
                  </a:r>
                </a:p>
              </p:txBody>
            </p:sp>
            <p:sp>
              <p:nvSpPr>
                <p:cNvPr id="106" name="Rechthoekige driehoek 105"/>
                <p:cNvSpPr/>
                <p:nvPr userDrawn="1"/>
              </p:nvSpPr>
              <p:spPr>
                <a:xfrm rot="18900000">
                  <a:off x="13499178" y="6417015"/>
                  <a:ext cx="67185" cy="67185"/>
                </a:xfrm>
                <a:prstGeom prst="rtTriangl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88" name="Rechthoek 87"/>
              <p:cNvSpPr/>
              <p:nvPr/>
            </p:nvSpPr>
            <p:spPr>
              <a:xfrm>
                <a:off x="12483705" y="-5444"/>
                <a:ext cx="2584447" cy="28846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80000"/>
                  </a:lnSpc>
                </a:pPr>
                <a:r>
                  <a:rPr lang="nl-NL" sz="1600" b="1" kern="0" dirty="0">
                    <a:solidFill>
                      <a:schemeClr val="bg2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INSERT VIDEO</a:t>
                </a:r>
              </a:p>
            </p:txBody>
          </p:sp>
          <p:sp>
            <p:nvSpPr>
              <p:cNvPr id="89" name="Tekstvak 33"/>
              <p:cNvSpPr txBox="1"/>
              <p:nvPr/>
            </p:nvSpPr>
            <p:spPr>
              <a:xfrm>
                <a:off x="12483705" y="974289"/>
                <a:ext cx="2584447" cy="22459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lick</a:t>
                </a:r>
                <a:r>
                  <a:rPr kumimoji="0" lang="en-US" sz="1200" b="0" i="0" u="none" strike="noStrike" kern="0" cap="none" spc="0" normalizeH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on the icon to insert a video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0" name="Tekstvak 33"/>
              <p:cNvSpPr txBox="1"/>
              <p:nvPr/>
            </p:nvSpPr>
            <p:spPr>
              <a:xfrm>
                <a:off x="12479311" y="3056156"/>
                <a:ext cx="2592287" cy="44485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lect</a:t>
                </a:r>
                <a:r>
                  <a:rPr kumimoji="0" lang="en-US" sz="1200" b="0" i="0" u="none" strike="noStrike" kern="0" cap="none" spc="0" normalizeH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 the video you want to use </a:t>
                </a:r>
                <a:br>
                  <a:rPr kumimoji="0" lang="en-US" sz="1200" b="0" i="0" u="none" strike="noStrike" kern="0" cap="none" spc="0" normalizeH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</a:br>
                <a:r>
                  <a:rPr kumimoji="0" lang="en-US" sz="1200" b="0" i="0" u="none" strike="noStrike" kern="0" cap="none" spc="0" normalizeH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and click on </a:t>
                </a:r>
                <a:r>
                  <a:rPr lang="en-US" sz="1200" b="1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‘</a:t>
                </a:r>
                <a:r>
                  <a:rPr lang="en-US" sz="1200" b="1" kern="0" noProof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Insert’</a:t>
                </a:r>
                <a:endParaRPr kumimoji="0" lang="nl-NL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1" name="Ovaal 90"/>
              <p:cNvSpPr/>
              <p:nvPr/>
            </p:nvSpPr>
            <p:spPr>
              <a:xfrm>
                <a:off x="12483705" y="491007"/>
                <a:ext cx="359927" cy="359927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1</a:t>
                </a:r>
              </a:p>
            </p:txBody>
          </p:sp>
          <p:sp>
            <p:nvSpPr>
              <p:cNvPr id="92" name="Ovaal 91"/>
              <p:cNvSpPr/>
              <p:nvPr/>
            </p:nvSpPr>
            <p:spPr>
              <a:xfrm>
                <a:off x="12488780" y="2499796"/>
                <a:ext cx="359927" cy="359927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2</a:t>
                </a:r>
              </a:p>
            </p:txBody>
          </p:sp>
          <p:cxnSp>
            <p:nvCxnSpPr>
              <p:cNvPr id="93" name="Rechte verbindingslijn 92"/>
              <p:cNvCxnSpPr/>
              <p:nvPr/>
            </p:nvCxnSpPr>
            <p:spPr>
              <a:xfrm>
                <a:off x="12487778" y="283020"/>
                <a:ext cx="2592288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2"/>
                </a:solidFill>
                <a:prstDash val="solid"/>
              </a:ln>
              <a:effectLst/>
            </p:spPr>
          </p:cxnSp>
          <p:cxnSp>
            <p:nvCxnSpPr>
              <p:cNvPr id="94" name="Rechte verbindingslijn 93"/>
              <p:cNvCxnSpPr/>
              <p:nvPr/>
            </p:nvCxnSpPr>
            <p:spPr>
              <a:xfrm>
                <a:off x="12479311" y="2303362"/>
                <a:ext cx="2592288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2"/>
                </a:solidFill>
                <a:prstDash val="solid"/>
              </a:ln>
              <a:effectLst/>
            </p:spPr>
          </p:cxnSp>
          <p:cxnSp>
            <p:nvCxnSpPr>
              <p:cNvPr id="95" name="Rechte verbindingslijn 94"/>
              <p:cNvCxnSpPr/>
              <p:nvPr/>
            </p:nvCxnSpPr>
            <p:spPr>
              <a:xfrm>
                <a:off x="12470972" y="4334476"/>
                <a:ext cx="2608001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2"/>
                </a:solidFill>
                <a:prstDash val="solid"/>
              </a:ln>
              <a:effectLst/>
            </p:spPr>
          </p:cxnSp>
          <p:sp>
            <p:nvSpPr>
              <p:cNvPr id="96" name="Tekstvak 33"/>
              <p:cNvSpPr txBox="1"/>
              <p:nvPr/>
            </p:nvSpPr>
            <p:spPr>
              <a:xfrm>
                <a:off x="12479311" y="5017802"/>
                <a:ext cx="2588841" cy="40000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If you want to scale or drag the video</a:t>
                </a:r>
                <a:br>
                  <a:rPr lang="en-US" sz="1200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</a:br>
                <a:r>
                  <a:rPr lang="en-US" sz="1200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go to </a:t>
                </a:r>
                <a:r>
                  <a:rPr lang="en-US" sz="1200" b="1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‘Picture Tools’ </a:t>
                </a:r>
                <a:r>
                  <a:rPr lang="en-US" sz="1200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and click on </a:t>
                </a:r>
                <a:r>
                  <a:rPr lang="en-US" sz="1200" b="1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‘Crop’</a:t>
                </a:r>
                <a:endParaRPr lang="nl-NL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97" name="Ovaal 96"/>
              <p:cNvSpPr/>
              <p:nvPr/>
            </p:nvSpPr>
            <p:spPr>
              <a:xfrm>
                <a:off x="12488779" y="4532940"/>
                <a:ext cx="359927" cy="359927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3</a:t>
                </a:r>
                <a:endPara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98" name="Rechte verbindingslijn 97"/>
              <p:cNvCxnSpPr/>
              <p:nvPr/>
            </p:nvCxnSpPr>
            <p:spPr>
              <a:xfrm>
                <a:off x="12470972" y="6863444"/>
                <a:ext cx="2608001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2"/>
                </a:solidFill>
                <a:prstDash val="solid"/>
              </a:ln>
              <a:effectLst/>
            </p:spPr>
          </p:cxnSp>
          <p:grpSp>
            <p:nvGrpSpPr>
              <p:cNvPr id="99" name="Groep 98"/>
              <p:cNvGrpSpPr/>
              <p:nvPr/>
            </p:nvGrpSpPr>
            <p:grpSpPr>
              <a:xfrm>
                <a:off x="12483705" y="3745117"/>
                <a:ext cx="1114138" cy="297656"/>
                <a:chOff x="13560784" y="3471416"/>
                <a:chExt cx="1114138" cy="297656"/>
              </a:xfrm>
            </p:grpSpPr>
            <p:sp>
              <p:nvSpPr>
                <p:cNvPr id="100" name="Afgeronde rechthoek 99"/>
                <p:cNvSpPr/>
                <p:nvPr/>
              </p:nvSpPr>
              <p:spPr>
                <a:xfrm>
                  <a:off x="13560784" y="3471416"/>
                  <a:ext cx="1114138" cy="297656"/>
                </a:xfrm>
                <a:prstGeom prst="roundRect">
                  <a:avLst/>
                </a:prstGeom>
                <a:gradFill flip="none" rotWithShape="1">
                  <a:gsLst>
                    <a:gs pos="4000">
                      <a:srgbClr val="00B0F0"/>
                    </a:gs>
                    <a:gs pos="0">
                      <a:srgbClr val="0070C0"/>
                    </a:gs>
                    <a:gs pos="100000">
                      <a:srgbClr val="0070C0"/>
                    </a:gs>
                    <a:gs pos="12000">
                      <a:srgbClr val="D1EAFF"/>
                    </a:gs>
                    <a:gs pos="96000">
                      <a:srgbClr val="00B0F0"/>
                    </a:gs>
                    <a:gs pos="89000">
                      <a:srgbClr val="DDF4FF"/>
                    </a:gs>
                    <a:gs pos="43000">
                      <a:srgbClr val="D1EAFF"/>
                    </a:gs>
                    <a:gs pos="51000">
                      <a:srgbClr val="DDF4FF"/>
                    </a:gs>
                  </a:gsLst>
                  <a:lin ang="16200000" scaled="1"/>
                  <a:tileRect/>
                </a:gradFill>
                <a:ln w="63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1" name="Tekstvak 81"/>
                <p:cNvSpPr txBox="1"/>
                <p:nvPr/>
              </p:nvSpPr>
              <p:spPr>
                <a:xfrm>
                  <a:off x="13573594" y="3501896"/>
                  <a:ext cx="888311" cy="246221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>
                  <a:defPPr>
                    <a:defRPr lang="nl-NL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900" i="0" u="none" strike="noStrike" kern="0" cap="none" spc="0" normalizeH="0" baseline="0">
                      <a:ln>
                        <a:noFill/>
                      </a:ln>
                      <a:effectLst>
                        <a:outerShdw blurRad="25400" algn="ctr" rotWithShape="0">
                          <a:prstClr val="white"/>
                        </a:outerShdw>
                      </a:effectLst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5pPr>
                  <a:lvl6pPr>
                    <a:defRPr>
                      <a:latin typeface="Arial" charset="0"/>
                      <a:cs typeface="Arial" charset="0"/>
                    </a:defRPr>
                  </a:lvl6pPr>
                  <a:lvl7pPr>
                    <a:defRPr>
                      <a:latin typeface="Arial" charset="0"/>
                      <a:cs typeface="Arial" charset="0"/>
                    </a:defRPr>
                  </a:lvl7pPr>
                  <a:lvl8pPr>
                    <a:defRPr>
                      <a:latin typeface="Arial" charset="0"/>
                      <a:cs typeface="Arial" charset="0"/>
                    </a:defRPr>
                  </a:lvl8pPr>
                  <a:lvl9pPr>
                    <a:defRPr>
                      <a:latin typeface="Arial" charset="0"/>
                      <a:cs typeface="Arial" charset="0"/>
                    </a:defRPr>
                  </a:lvl9pPr>
                </a:lstStyle>
                <a:p>
                  <a:r>
                    <a:rPr lang="en-GB" sz="1000" dirty="0"/>
                    <a:t>Insert</a:t>
                  </a:r>
                </a:p>
              </p:txBody>
            </p:sp>
            <p:cxnSp>
              <p:nvCxnSpPr>
                <p:cNvPr id="102" name="Rechte verbindingslijn 101"/>
                <p:cNvCxnSpPr/>
                <p:nvPr/>
              </p:nvCxnSpPr>
              <p:spPr>
                <a:xfrm>
                  <a:off x="14461905" y="3507058"/>
                  <a:ext cx="0" cy="224432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3" name="Gelijkbenige driehoek 102"/>
                <p:cNvSpPr/>
                <p:nvPr/>
              </p:nvSpPr>
              <p:spPr>
                <a:xfrm rot="10800000">
                  <a:off x="14518584" y="3600521"/>
                  <a:ext cx="105309" cy="57157"/>
                </a:xfrm>
                <a:prstGeom prst="triangl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85656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4197" y="377838"/>
            <a:ext cx="8455610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enter title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5238750" y="-520700"/>
            <a:ext cx="3905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en-GB" sz="1800" baseline="0" noProof="0" dirty="0"/>
              <a:t>Table (100%)</a:t>
            </a:r>
            <a:endParaRPr lang="en-GB" sz="1800" noProof="0" dirty="0"/>
          </a:p>
        </p:txBody>
      </p:sp>
      <p:sp>
        <p:nvSpPr>
          <p:cNvPr id="86" name="Tijdelijke aanduiding voor tabel 13"/>
          <p:cNvSpPr>
            <a:spLocks noGrp="1"/>
          </p:cNvSpPr>
          <p:nvPr>
            <p:ph type="tbl" sz="quarter" idx="15" hasCustomPrompt="1"/>
          </p:nvPr>
        </p:nvSpPr>
        <p:spPr>
          <a:xfrm>
            <a:off x="344195" y="1092201"/>
            <a:ext cx="8456400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en-GB" noProof="0" dirty="0"/>
              <a:t>Table</a:t>
            </a:r>
          </a:p>
        </p:txBody>
      </p:sp>
      <p:grpSp>
        <p:nvGrpSpPr>
          <p:cNvPr id="56" name="Instruction Table"/>
          <p:cNvGrpSpPr/>
          <p:nvPr userDrawn="1"/>
        </p:nvGrpSpPr>
        <p:grpSpPr>
          <a:xfrm>
            <a:off x="9945083" y="23313"/>
            <a:ext cx="2609094" cy="4339920"/>
            <a:chOff x="12470972" y="-5444"/>
            <a:chExt cx="2609094" cy="4339920"/>
          </a:xfrm>
        </p:grpSpPr>
        <p:grpSp>
          <p:nvGrpSpPr>
            <p:cNvPr id="57" name="Groep 56"/>
            <p:cNvGrpSpPr/>
            <p:nvPr/>
          </p:nvGrpSpPr>
          <p:grpSpPr>
            <a:xfrm>
              <a:off x="12478620" y="1489205"/>
              <a:ext cx="615489" cy="522454"/>
              <a:chOff x="3793456" y="3603"/>
              <a:chExt cx="4527394" cy="473968"/>
            </a:xfrm>
          </p:grpSpPr>
          <p:grpSp>
            <p:nvGrpSpPr>
              <p:cNvPr id="71" name="Group 4"/>
              <p:cNvGrpSpPr>
                <a:grpSpLocks noChangeAspect="1"/>
              </p:cNvGrpSpPr>
              <p:nvPr userDrawn="1"/>
            </p:nvGrpSpPr>
            <p:grpSpPr bwMode="auto">
              <a:xfrm>
                <a:off x="3793456" y="3603"/>
                <a:ext cx="4526989" cy="473968"/>
                <a:chOff x="1782" y="145"/>
                <a:chExt cx="2674" cy="2270"/>
              </a:xfrm>
            </p:grpSpPr>
            <p:sp>
              <p:nvSpPr>
                <p:cNvPr id="78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807" y="145"/>
                  <a:ext cx="2649" cy="2270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rgbClr val="96969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+mj-lt"/>
                  </a:endParaRPr>
                </a:p>
              </p:txBody>
            </p:sp>
            <p:sp>
              <p:nvSpPr>
                <p:cNvPr id="79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799" y="145"/>
                  <a:ext cx="2657" cy="439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009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+mj-lt"/>
                  </a:endParaRPr>
                </a:p>
              </p:txBody>
            </p:sp>
            <p:sp>
              <p:nvSpPr>
                <p:cNvPr id="80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782" y="1469"/>
                  <a:ext cx="2655" cy="29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+mj-lt"/>
                  </a:endParaRPr>
                </a:p>
              </p:txBody>
            </p:sp>
          </p:grpSp>
          <p:cxnSp>
            <p:nvCxnSpPr>
              <p:cNvPr id="72" name="Rechte verbindingslijn 71"/>
              <p:cNvCxnSpPr/>
              <p:nvPr userDrawn="1"/>
            </p:nvCxnSpPr>
            <p:spPr>
              <a:xfrm flipH="1">
                <a:off x="6086136" y="96647"/>
                <a:ext cx="6024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Rechte verbindingslijn 72"/>
              <p:cNvCxnSpPr/>
              <p:nvPr userDrawn="1"/>
            </p:nvCxnSpPr>
            <p:spPr>
              <a:xfrm>
                <a:off x="7281567" y="96647"/>
                <a:ext cx="0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Rechte verbindingslijn 73"/>
              <p:cNvCxnSpPr/>
              <p:nvPr userDrawn="1"/>
            </p:nvCxnSpPr>
            <p:spPr>
              <a:xfrm>
                <a:off x="4905299" y="96186"/>
                <a:ext cx="0" cy="377505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Rechte verbindingslijn 74"/>
              <p:cNvCxnSpPr/>
              <p:nvPr userDrawn="1"/>
            </p:nvCxnSpPr>
            <p:spPr>
              <a:xfrm flipH="1">
                <a:off x="3836186" y="181242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Rechte verbindingslijn 75"/>
              <p:cNvCxnSpPr/>
              <p:nvPr userDrawn="1"/>
            </p:nvCxnSpPr>
            <p:spPr>
              <a:xfrm flipH="1">
                <a:off x="3836186" y="280466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Rechte verbindingslijn 76"/>
              <p:cNvCxnSpPr/>
              <p:nvPr userDrawn="1"/>
            </p:nvCxnSpPr>
            <p:spPr>
              <a:xfrm flipH="1">
                <a:off x="3836186" y="392407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" name="Rechthoek 5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chemeClr val="bg2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TABLE</a:t>
              </a:r>
            </a:p>
          </p:txBody>
        </p:sp>
        <p:sp>
          <p:nvSpPr>
            <p:cNvPr id="59" name="Tekstvak 58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 table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60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 the number of rows and columns you prefer and click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OK’</a:t>
              </a:r>
            </a:p>
          </p:txBody>
        </p:sp>
        <p:sp>
          <p:nvSpPr>
            <p:cNvPr id="61" name="Ovaal 60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62" name="Ovaal 61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63" name="Rechte verbindingslijn 62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64" name="Rechte verbindingslijn 63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65" name="Rechte verbindingslijn 64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66" name="Groep 65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67" name="Afgeronde rechthoek 66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 dirty="0"/>
                  <a:t>OK</a:t>
                </a:r>
              </a:p>
            </p:txBody>
          </p:sp>
          <p:cxnSp>
            <p:nvCxnSpPr>
              <p:cNvPr id="69" name="Rechte verbindingslijn 68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0" name="Gelijkbenige driehoek 69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21144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4197" y="377838"/>
            <a:ext cx="8455610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enter title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5238750" y="-520700"/>
            <a:ext cx="3905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sz="1800" baseline="0" dirty="0"/>
              <a:t>Graph (100%)</a:t>
            </a:r>
            <a:endParaRPr lang="nl-NL" sz="1800" dirty="0"/>
          </a:p>
        </p:txBody>
      </p:sp>
      <p:sp>
        <p:nvSpPr>
          <p:cNvPr id="85" name="Tijdelijke aanduiding voor grafiek 13"/>
          <p:cNvSpPr>
            <a:spLocks noGrp="1"/>
          </p:cNvSpPr>
          <p:nvPr>
            <p:ph type="chart" sz="quarter" idx="16" hasCustomPrompt="1"/>
          </p:nvPr>
        </p:nvSpPr>
        <p:spPr>
          <a:xfrm>
            <a:off x="344195" y="1092201"/>
            <a:ext cx="8456400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en-GB" noProof="0" dirty="0"/>
              <a:t>Graph</a:t>
            </a:r>
          </a:p>
        </p:txBody>
      </p:sp>
      <p:grpSp>
        <p:nvGrpSpPr>
          <p:cNvPr id="87" name="Instruction Chart &amp; Edit"/>
          <p:cNvGrpSpPr/>
          <p:nvPr userDrawn="1"/>
        </p:nvGrpSpPr>
        <p:grpSpPr>
          <a:xfrm>
            <a:off x="9945083" y="23584"/>
            <a:ext cx="2697278" cy="6868888"/>
            <a:chOff x="12382788" y="-5444"/>
            <a:chExt cx="2697278" cy="6868888"/>
          </a:xfrm>
        </p:grpSpPr>
        <p:grpSp>
          <p:nvGrpSpPr>
            <p:cNvPr id="88" name="Groep 87"/>
            <p:cNvGrpSpPr/>
            <p:nvPr userDrawn="1"/>
          </p:nvGrpSpPr>
          <p:grpSpPr>
            <a:xfrm>
              <a:off x="12382788" y="1480224"/>
              <a:ext cx="689983" cy="573048"/>
              <a:chOff x="15171969" y="1587338"/>
              <a:chExt cx="755407" cy="627385"/>
            </a:xfrm>
          </p:grpSpPr>
          <p:sp>
            <p:nvSpPr>
              <p:cNvPr id="142" name="Rechthoek 962"/>
              <p:cNvSpPr/>
              <p:nvPr userDrawn="1"/>
            </p:nvSpPr>
            <p:spPr>
              <a:xfrm>
                <a:off x="15171969" y="2008934"/>
                <a:ext cx="755407" cy="205789"/>
              </a:xfrm>
              <a:custGeom>
                <a:avLst/>
                <a:gdLst>
                  <a:gd name="connsiteX0" fmla="*/ 0 w 664132"/>
                  <a:gd name="connsiteY0" fmla="*/ 0 h 277787"/>
                  <a:gd name="connsiteX1" fmla="*/ 664132 w 664132"/>
                  <a:gd name="connsiteY1" fmla="*/ 0 h 277787"/>
                  <a:gd name="connsiteX2" fmla="*/ 664132 w 664132"/>
                  <a:gd name="connsiteY2" fmla="*/ 277787 h 277787"/>
                  <a:gd name="connsiteX3" fmla="*/ 0 w 664132"/>
                  <a:gd name="connsiteY3" fmla="*/ 277787 h 277787"/>
                  <a:gd name="connsiteX4" fmla="*/ 0 w 664132"/>
                  <a:gd name="connsiteY4" fmla="*/ 0 h 277787"/>
                  <a:gd name="connsiteX0" fmla="*/ 0 w 664132"/>
                  <a:gd name="connsiteY0" fmla="*/ 0 h 290487"/>
                  <a:gd name="connsiteX1" fmla="*/ 664132 w 664132"/>
                  <a:gd name="connsiteY1" fmla="*/ 0 h 290487"/>
                  <a:gd name="connsiteX2" fmla="*/ 333932 w 664132"/>
                  <a:gd name="connsiteY2" fmla="*/ 290487 h 290487"/>
                  <a:gd name="connsiteX3" fmla="*/ 0 w 664132"/>
                  <a:gd name="connsiteY3" fmla="*/ 277787 h 290487"/>
                  <a:gd name="connsiteX4" fmla="*/ 0 w 664132"/>
                  <a:gd name="connsiteY4" fmla="*/ 0 h 290487"/>
                  <a:gd name="connsiteX0" fmla="*/ 0 w 664132"/>
                  <a:gd name="connsiteY0" fmla="*/ 0 h 277787"/>
                  <a:gd name="connsiteX1" fmla="*/ 664132 w 664132"/>
                  <a:gd name="connsiteY1" fmla="*/ 0 h 277787"/>
                  <a:gd name="connsiteX2" fmla="*/ 575232 w 664132"/>
                  <a:gd name="connsiteY2" fmla="*/ 271437 h 277787"/>
                  <a:gd name="connsiteX3" fmla="*/ 0 w 664132"/>
                  <a:gd name="connsiteY3" fmla="*/ 277787 h 277787"/>
                  <a:gd name="connsiteX4" fmla="*/ 0 w 664132"/>
                  <a:gd name="connsiteY4" fmla="*/ 0 h 277787"/>
                  <a:gd name="connsiteX0" fmla="*/ 0 w 708582"/>
                  <a:gd name="connsiteY0" fmla="*/ 0 h 277787"/>
                  <a:gd name="connsiteX1" fmla="*/ 708582 w 708582"/>
                  <a:gd name="connsiteY1" fmla="*/ 31750 h 277787"/>
                  <a:gd name="connsiteX2" fmla="*/ 575232 w 708582"/>
                  <a:gd name="connsiteY2" fmla="*/ 271437 h 277787"/>
                  <a:gd name="connsiteX3" fmla="*/ 0 w 708582"/>
                  <a:gd name="connsiteY3" fmla="*/ 277787 h 277787"/>
                  <a:gd name="connsiteX4" fmla="*/ 0 w 708582"/>
                  <a:gd name="connsiteY4" fmla="*/ 0 h 277787"/>
                  <a:gd name="connsiteX0" fmla="*/ 228600 w 708582"/>
                  <a:gd name="connsiteY0" fmla="*/ 6350 h 246037"/>
                  <a:gd name="connsiteX1" fmla="*/ 708582 w 708582"/>
                  <a:gd name="connsiteY1" fmla="*/ 0 h 246037"/>
                  <a:gd name="connsiteX2" fmla="*/ 575232 w 708582"/>
                  <a:gd name="connsiteY2" fmla="*/ 239687 h 246037"/>
                  <a:gd name="connsiteX3" fmla="*/ 0 w 708582"/>
                  <a:gd name="connsiteY3" fmla="*/ 246037 h 246037"/>
                  <a:gd name="connsiteX4" fmla="*/ 228600 w 708582"/>
                  <a:gd name="connsiteY4" fmla="*/ 6350 h 246037"/>
                  <a:gd name="connsiteX0" fmla="*/ 228600 w 778432"/>
                  <a:gd name="connsiteY0" fmla="*/ 0 h 239687"/>
                  <a:gd name="connsiteX1" fmla="*/ 778432 w 778432"/>
                  <a:gd name="connsiteY1" fmla="*/ 25400 h 239687"/>
                  <a:gd name="connsiteX2" fmla="*/ 575232 w 778432"/>
                  <a:gd name="connsiteY2" fmla="*/ 233337 h 239687"/>
                  <a:gd name="connsiteX3" fmla="*/ 0 w 778432"/>
                  <a:gd name="connsiteY3" fmla="*/ 239687 h 239687"/>
                  <a:gd name="connsiteX4" fmla="*/ 228600 w 778432"/>
                  <a:gd name="connsiteY4" fmla="*/ 0 h 239687"/>
                  <a:gd name="connsiteX0" fmla="*/ 228600 w 778432"/>
                  <a:gd name="connsiteY0" fmla="*/ 0 h 214287"/>
                  <a:gd name="connsiteX1" fmla="*/ 778432 w 778432"/>
                  <a:gd name="connsiteY1" fmla="*/ 0 h 214287"/>
                  <a:gd name="connsiteX2" fmla="*/ 575232 w 778432"/>
                  <a:gd name="connsiteY2" fmla="*/ 207937 h 214287"/>
                  <a:gd name="connsiteX3" fmla="*/ 0 w 778432"/>
                  <a:gd name="connsiteY3" fmla="*/ 214287 h 214287"/>
                  <a:gd name="connsiteX4" fmla="*/ 228600 w 778432"/>
                  <a:gd name="connsiteY4" fmla="*/ 0 h 214287"/>
                  <a:gd name="connsiteX0" fmla="*/ 228600 w 730724"/>
                  <a:gd name="connsiteY0" fmla="*/ 3975 h 218262"/>
                  <a:gd name="connsiteX1" fmla="*/ 730724 w 730724"/>
                  <a:gd name="connsiteY1" fmla="*/ 0 h 218262"/>
                  <a:gd name="connsiteX2" fmla="*/ 575232 w 730724"/>
                  <a:gd name="connsiteY2" fmla="*/ 211912 h 218262"/>
                  <a:gd name="connsiteX3" fmla="*/ 0 w 730724"/>
                  <a:gd name="connsiteY3" fmla="*/ 218262 h 218262"/>
                  <a:gd name="connsiteX4" fmla="*/ 228600 w 730724"/>
                  <a:gd name="connsiteY4" fmla="*/ 3975 h 218262"/>
                  <a:gd name="connsiteX0" fmla="*/ 252454 w 754578"/>
                  <a:gd name="connsiteY0" fmla="*/ 3975 h 211912"/>
                  <a:gd name="connsiteX1" fmla="*/ 754578 w 754578"/>
                  <a:gd name="connsiteY1" fmla="*/ 0 h 211912"/>
                  <a:gd name="connsiteX2" fmla="*/ 599086 w 754578"/>
                  <a:gd name="connsiteY2" fmla="*/ 211912 h 211912"/>
                  <a:gd name="connsiteX3" fmla="*/ 0 w 754578"/>
                  <a:gd name="connsiteY3" fmla="*/ 210311 h 211912"/>
                  <a:gd name="connsiteX4" fmla="*/ 252454 w 754578"/>
                  <a:gd name="connsiteY4" fmla="*/ 3975 h 211912"/>
                  <a:gd name="connsiteX0" fmla="*/ 172941 w 754578"/>
                  <a:gd name="connsiteY0" fmla="*/ 0 h 219864"/>
                  <a:gd name="connsiteX1" fmla="*/ 754578 w 754578"/>
                  <a:gd name="connsiteY1" fmla="*/ 7952 h 219864"/>
                  <a:gd name="connsiteX2" fmla="*/ 599086 w 754578"/>
                  <a:gd name="connsiteY2" fmla="*/ 219864 h 219864"/>
                  <a:gd name="connsiteX3" fmla="*/ 0 w 754578"/>
                  <a:gd name="connsiteY3" fmla="*/ 218263 h 219864"/>
                  <a:gd name="connsiteX4" fmla="*/ 172941 w 754578"/>
                  <a:gd name="connsiteY4" fmla="*/ 0 h 219864"/>
                  <a:gd name="connsiteX0" fmla="*/ 172941 w 754578"/>
                  <a:gd name="connsiteY0" fmla="*/ 0 h 223840"/>
                  <a:gd name="connsiteX1" fmla="*/ 754578 w 754578"/>
                  <a:gd name="connsiteY1" fmla="*/ 7952 h 223840"/>
                  <a:gd name="connsiteX2" fmla="*/ 654745 w 754578"/>
                  <a:gd name="connsiteY2" fmla="*/ 223840 h 223840"/>
                  <a:gd name="connsiteX3" fmla="*/ 0 w 754578"/>
                  <a:gd name="connsiteY3" fmla="*/ 218263 h 223840"/>
                  <a:gd name="connsiteX4" fmla="*/ 172941 w 754578"/>
                  <a:gd name="connsiteY4" fmla="*/ 0 h 223840"/>
                  <a:gd name="connsiteX0" fmla="*/ 172941 w 754578"/>
                  <a:gd name="connsiteY0" fmla="*/ 0 h 219864"/>
                  <a:gd name="connsiteX1" fmla="*/ 754578 w 754578"/>
                  <a:gd name="connsiteY1" fmla="*/ 7952 h 219864"/>
                  <a:gd name="connsiteX2" fmla="*/ 646793 w 754578"/>
                  <a:gd name="connsiteY2" fmla="*/ 219864 h 219864"/>
                  <a:gd name="connsiteX3" fmla="*/ 0 w 754578"/>
                  <a:gd name="connsiteY3" fmla="*/ 218263 h 219864"/>
                  <a:gd name="connsiteX4" fmla="*/ 172941 w 754578"/>
                  <a:gd name="connsiteY4" fmla="*/ 0 h 219864"/>
                  <a:gd name="connsiteX0" fmla="*/ 172941 w 818189"/>
                  <a:gd name="connsiteY0" fmla="*/ 0 h 219864"/>
                  <a:gd name="connsiteX1" fmla="*/ 818189 w 818189"/>
                  <a:gd name="connsiteY1" fmla="*/ 31806 h 219864"/>
                  <a:gd name="connsiteX2" fmla="*/ 646793 w 818189"/>
                  <a:gd name="connsiteY2" fmla="*/ 219864 h 219864"/>
                  <a:gd name="connsiteX3" fmla="*/ 0 w 818189"/>
                  <a:gd name="connsiteY3" fmla="*/ 218263 h 219864"/>
                  <a:gd name="connsiteX4" fmla="*/ 172941 w 818189"/>
                  <a:gd name="connsiteY4" fmla="*/ 0 h 219864"/>
                  <a:gd name="connsiteX0" fmla="*/ 172941 w 806262"/>
                  <a:gd name="connsiteY0" fmla="*/ 0 h 219864"/>
                  <a:gd name="connsiteX1" fmla="*/ 806262 w 806262"/>
                  <a:gd name="connsiteY1" fmla="*/ 11928 h 219864"/>
                  <a:gd name="connsiteX2" fmla="*/ 646793 w 806262"/>
                  <a:gd name="connsiteY2" fmla="*/ 219864 h 219864"/>
                  <a:gd name="connsiteX3" fmla="*/ 0 w 806262"/>
                  <a:gd name="connsiteY3" fmla="*/ 218263 h 219864"/>
                  <a:gd name="connsiteX4" fmla="*/ 172941 w 806262"/>
                  <a:gd name="connsiteY4" fmla="*/ 0 h 219864"/>
                  <a:gd name="connsiteX0" fmla="*/ 172941 w 798310"/>
                  <a:gd name="connsiteY0" fmla="*/ 0 h 219864"/>
                  <a:gd name="connsiteX1" fmla="*/ 798310 w 798310"/>
                  <a:gd name="connsiteY1" fmla="*/ 15903 h 219864"/>
                  <a:gd name="connsiteX2" fmla="*/ 646793 w 798310"/>
                  <a:gd name="connsiteY2" fmla="*/ 219864 h 219864"/>
                  <a:gd name="connsiteX3" fmla="*/ 0 w 798310"/>
                  <a:gd name="connsiteY3" fmla="*/ 218263 h 219864"/>
                  <a:gd name="connsiteX4" fmla="*/ 172941 w 798310"/>
                  <a:gd name="connsiteY4" fmla="*/ 0 h 219864"/>
                  <a:gd name="connsiteX0" fmla="*/ 172941 w 798310"/>
                  <a:gd name="connsiteY0" fmla="*/ 0 h 259620"/>
                  <a:gd name="connsiteX1" fmla="*/ 798310 w 798310"/>
                  <a:gd name="connsiteY1" fmla="*/ 15903 h 259620"/>
                  <a:gd name="connsiteX2" fmla="*/ 614988 w 798310"/>
                  <a:gd name="connsiteY2" fmla="*/ 259620 h 259620"/>
                  <a:gd name="connsiteX3" fmla="*/ 0 w 798310"/>
                  <a:gd name="connsiteY3" fmla="*/ 218263 h 259620"/>
                  <a:gd name="connsiteX4" fmla="*/ 172941 w 798310"/>
                  <a:gd name="connsiteY4" fmla="*/ 0 h 259620"/>
                  <a:gd name="connsiteX0" fmla="*/ 188843 w 814212"/>
                  <a:gd name="connsiteY0" fmla="*/ 0 h 259620"/>
                  <a:gd name="connsiteX1" fmla="*/ 814212 w 814212"/>
                  <a:gd name="connsiteY1" fmla="*/ 15903 h 259620"/>
                  <a:gd name="connsiteX2" fmla="*/ 630890 w 814212"/>
                  <a:gd name="connsiteY2" fmla="*/ 259620 h 259620"/>
                  <a:gd name="connsiteX3" fmla="*/ 0 w 814212"/>
                  <a:gd name="connsiteY3" fmla="*/ 254043 h 259620"/>
                  <a:gd name="connsiteX4" fmla="*/ 188843 w 814212"/>
                  <a:gd name="connsiteY4" fmla="*/ 0 h 259620"/>
                  <a:gd name="connsiteX0" fmla="*/ 208721 w 834090"/>
                  <a:gd name="connsiteY0" fmla="*/ 0 h 259620"/>
                  <a:gd name="connsiteX1" fmla="*/ 834090 w 834090"/>
                  <a:gd name="connsiteY1" fmla="*/ 15903 h 259620"/>
                  <a:gd name="connsiteX2" fmla="*/ 650768 w 834090"/>
                  <a:gd name="connsiteY2" fmla="*/ 259620 h 259620"/>
                  <a:gd name="connsiteX3" fmla="*/ 0 w 834090"/>
                  <a:gd name="connsiteY3" fmla="*/ 254043 h 259620"/>
                  <a:gd name="connsiteX4" fmla="*/ 208721 w 834090"/>
                  <a:gd name="connsiteY4" fmla="*/ 0 h 259620"/>
                  <a:gd name="connsiteX0" fmla="*/ 268356 w 893725"/>
                  <a:gd name="connsiteY0" fmla="*/ 0 h 259620"/>
                  <a:gd name="connsiteX1" fmla="*/ 893725 w 893725"/>
                  <a:gd name="connsiteY1" fmla="*/ 15903 h 259620"/>
                  <a:gd name="connsiteX2" fmla="*/ 710403 w 893725"/>
                  <a:gd name="connsiteY2" fmla="*/ 259620 h 259620"/>
                  <a:gd name="connsiteX3" fmla="*/ 0 w 893725"/>
                  <a:gd name="connsiteY3" fmla="*/ 254043 h 259620"/>
                  <a:gd name="connsiteX4" fmla="*/ 268356 w 893725"/>
                  <a:gd name="connsiteY4" fmla="*/ 0 h 259620"/>
                  <a:gd name="connsiteX0" fmla="*/ 260405 w 885774"/>
                  <a:gd name="connsiteY0" fmla="*/ 0 h 259620"/>
                  <a:gd name="connsiteX1" fmla="*/ 885774 w 885774"/>
                  <a:gd name="connsiteY1" fmla="*/ 15903 h 259620"/>
                  <a:gd name="connsiteX2" fmla="*/ 702452 w 885774"/>
                  <a:gd name="connsiteY2" fmla="*/ 259620 h 259620"/>
                  <a:gd name="connsiteX3" fmla="*/ 0 w 885774"/>
                  <a:gd name="connsiteY3" fmla="*/ 254043 h 259620"/>
                  <a:gd name="connsiteX4" fmla="*/ 260405 w 885774"/>
                  <a:gd name="connsiteY4" fmla="*/ 0 h 259620"/>
                  <a:gd name="connsiteX0" fmla="*/ 220648 w 885774"/>
                  <a:gd name="connsiteY0" fmla="*/ 0 h 243717"/>
                  <a:gd name="connsiteX1" fmla="*/ 885774 w 885774"/>
                  <a:gd name="connsiteY1" fmla="*/ 0 h 243717"/>
                  <a:gd name="connsiteX2" fmla="*/ 702452 w 885774"/>
                  <a:gd name="connsiteY2" fmla="*/ 243717 h 243717"/>
                  <a:gd name="connsiteX3" fmla="*/ 0 w 885774"/>
                  <a:gd name="connsiteY3" fmla="*/ 238140 h 243717"/>
                  <a:gd name="connsiteX4" fmla="*/ 220648 w 885774"/>
                  <a:gd name="connsiteY4" fmla="*/ 0 h 243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5774" h="243717">
                    <a:moveTo>
                      <a:pt x="220648" y="0"/>
                    </a:moveTo>
                    <a:lnTo>
                      <a:pt x="885774" y="0"/>
                    </a:lnTo>
                    <a:lnTo>
                      <a:pt x="702452" y="243717"/>
                    </a:lnTo>
                    <a:lnTo>
                      <a:pt x="0" y="238140"/>
                    </a:lnTo>
                    <a:lnTo>
                      <a:pt x="220648" y="0"/>
                    </a:lnTo>
                    <a:close/>
                  </a:path>
                </a:pathLst>
              </a:custGeom>
              <a:solidFill>
                <a:srgbClr val="FFFFFF">
                  <a:lumMod val="50000"/>
                </a:srgbClr>
              </a:solidFill>
              <a:ln w="25400" cap="flat" cmpd="sng" algn="ctr">
                <a:noFill/>
                <a:prstDash val="solid"/>
              </a:ln>
              <a:effectLst>
                <a:softEdge rad="31750"/>
              </a:effectLst>
            </p:spPr>
            <p:txBody>
              <a:bodyPr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43" name="Groep 142"/>
              <p:cNvGrpSpPr/>
              <p:nvPr userDrawn="1"/>
            </p:nvGrpSpPr>
            <p:grpSpPr>
              <a:xfrm>
                <a:off x="15281106" y="1587338"/>
                <a:ext cx="511775" cy="560304"/>
                <a:chOff x="10604642" y="969717"/>
                <a:chExt cx="1290643" cy="1427163"/>
              </a:xfrm>
            </p:grpSpPr>
            <p:grpSp>
              <p:nvGrpSpPr>
                <p:cNvPr id="144" name="Group 879"/>
                <p:cNvGrpSpPr>
                  <a:grpSpLocks noChangeAspect="1"/>
                </p:cNvGrpSpPr>
                <p:nvPr userDrawn="1"/>
              </p:nvGrpSpPr>
              <p:grpSpPr bwMode="auto">
                <a:xfrm>
                  <a:off x="10604642" y="969717"/>
                  <a:ext cx="1290643" cy="1427163"/>
                  <a:chOff x="4798" y="1515"/>
                  <a:chExt cx="813" cy="899"/>
                </a:xfrm>
              </p:grpSpPr>
              <p:sp>
                <p:nvSpPr>
                  <p:cNvPr id="146" name="Freeform 886"/>
                  <p:cNvSpPr>
                    <a:spLocks/>
                  </p:cNvSpPr>
                  <p:nvPr userDrawn="1"/>
                </p:nvSpPr>
                <p:spPr bwMode="auto">
                  <a:xfrm>
                    <a:off x="5269" y="1515"/>
                    <a:ext cx="71" cy="898"/>
                  </a:xfrm>
                  <a:custGeom>
                    <a:avLst/>
                    <a:gdLst>
                      <a:gd name="T0" fmla="*/ 282 w 282"/>
                      <a:gd name="T1" fmla="*/ 0 h 3595"/>
                      <a:gd name="T2" fmla="*/ 282 w 282"/>
                      <a:gd name="T3" fmla="*/ 3138 h 3595"/>
                      <a:gd name="T4" fmla="*/ 0 w 282"/>
                      <a:gd name="T5" fmla="*/ 3595 h 3595"/>
                      <a:gd name="T6" fmla="*/ 0 w 282"/>
                      <a:gd name="T7" fmla="*/ 285 h 3595"/>
                      <a:gd name="T8" fmla="*/ 282 w 282"/>
                      <a:gd name="T9" fmla="*/ 0 h 35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82" h="3595">
                        <a:moveTo>
                          <a:pt x="282" y="0"/>
                        </a:moveTo>
                        <a:lnTo>
                          <a:pt x="282" y="3138"/>
                        </a:lnTo>
                        <a:lnTo>
                          <a:pt x="0" y="3595"/>
                        </a:lnTo>
                        <a:lnTo>
                          <a:pt x="0" y="285"/>
                        </a:lnTo>
                        <a:lnTo>
                          <a:pt x="282" y="0"/>
                        </a:lnTo>
                        <a:close/>
                      </a:path>
                    </a:pathLst>
                  </a:custGeom>
                  <a:solidFill>
                    <a:srgbClr val="FFC000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7" name="Rectangle 880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798" y="1515"/>
                    <a:ext cx="813" cy="899"/>
                  </a:xfrm>
                  <a:prstGeom prst="rect">
                    <a:avLst/>
                  </a:prstGeom>
                  <a:noFill/>
                  <a:ln w="0">
                    <a:noFill/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8" name="Rectangle 881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798" y="1857"/>
                    <a:ext cx="228" cy="55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002060"/>
                      </a:gs>
                      <a:gs pos="100000">
                        <a:srgbClr val="1929FF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9" name="Freeform 882"/>
                  <p:cNvSpPr>
                    <a:spLocks/>
                  </p:cNvSpPr>
                  <p:nvPr userDrawn="1"/>
                </p:nvSpPr>
                <p:spPr bwMode="auto">
                  <a:xfrm>
                    <a:off x="4798" y="1771"/>
                    <a:ext cx="314" cy="86"/>
                  </a:xfrm>
                  <a:custGeom>
                    <a:avLst/>
                    <a:gdLst>
                      <a:gd name="T0" fmla="*/ 411 w 1255"/>
                      <a:gd name="T1" fmla="*/ 0 h 342"/>
                      <a:gd name="T2" fmla="*/ 1255 w 1255"/>
                      <a:gd name="T3" fmla="*/ 0 h 342"/>
                      <a:gd name="T4" fmla="*/ 913 w 1255"/>
                      <a:gd name="T5" fmla="*/ 342 h 342"/>
                      <a:gd name="T6" fmla="*/ 0 w 1255"/>
                      <a:gd name="T7" fmla="*/ 342 h 342"/>
                      <a:gd name="T8" fmla="*/ 411 w 1255"/>
                      <a:gd name="T9" fmla="*/ 0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255" h="342">
                        <a:moveTo>
                          <a:pt x="411" y="0"/>
                        </a:moveTo>
                        <a:lnTo>
                          <a:pt x="1255" y="0"/>
                        </a:lnTo>
                        <a:lnTo>
                          <a:pt x="913" y="342"/>
                        </a:lnTo>
                        <a:lnTo>
                          <a:pt x="0" y="342"/>
                        </a:lnTo>
                        <a:lnTo>
                          <a:pt x="411" y="0"/>
                        </a:lnTo>
                        <a:close/>
                      </a:path>
                    </a:pathLst>
                  </a:custGeom>
                  <a:solidFill>
                    <a:srgbClr val="0039AC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0" name="Freeform 883"/>
                  <p:cNvSpPr>
                    <a:spLocks/>
                  </p:cNvSpPr>
                  <p:nvPr userDrawn="1"/>
                </p:nvSpPr>
                <p:spPr bwMode="auto">
                  <a:xfrm>
                    <a:off x="5026" y="1771"/>
                    <a:ext cx="85" cy="642"/>
                  </a:xfrm>
                  <a:custGeom>
                    <a:avLst/>
                    <a:gdLst>
                      <a:gd name="T0" fmla="*/ 342 w 342"/>
                      <a:gd name="T1" fmla="*/ 0 h 2568"/>
                      <a:gd name="T2" fmla="*/ 342 w 342"/>
                      <a:gd name="T3" fmla="*/ 2111 h 2568"/>
                      <a:gd name="T4" fmla="*/ 0 w 342"/>
                      <a:gd name="T5" fmla="*/ 2568 h 2568"/>
                      <a:gd name="T6" fmla="*/ 0 w 342"/>
                      <a:gd name="T7" fmla="*/ 342 h 2568"/>
                      <a:gd name="T8" fmla="*/ 342 w 342"/>
                      <a:gd name="T9" fmla="*/ 0 h 25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2" h="2568">
                        <a:moveTo>
                          <a:pt x="342" y="0"/>
                        </a:moveTo>
                        <a:lnTo>
                          <a:pt x="342" y="2111"/>
                        </a:lnTo>
                        <a:lnTo>
                          <a:pt x="0" y="2568"/>
                        </a:lnTo>
                        <a:lnTo>
                          <a:pt x="0" y="342"/>
                        </a:lnTo>
                        <a:lnTo>
                          <a:pt x="342" y="0"/>
                        </a:lnTo>
                        <a:close/>
                      </a:path>
                    </a:pathLst>
                  </a:custGeom>
                  <a:solidFill>
                    <a:srgbClr val="000075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1" name="Freeform 884"/>
                  <p:cNvSpPr>
                    <a:spLocks/>
                  </p:cNvSpPr>
                  <p:nvPr userDrawn="1"/>
                </p:nvSpPr>
                <p:spPr bwMode="auto">
                  <a:xfrm>
                    <a:off x="5054" y="1515"/>
                    <a:ext cx="286" cy="72"/>
                  </a:xfrm>
                  <a:custGeom>
                    <a:avLst/>
                    <a:gdLst>
                      <a:gd name="T0" fmla="*/ 318 w 1140"/>
                      <a:gd name="T1" fmla="*/ 0 h 289"/>
                      <a:gd name="T2" fmla="*/ 1140 w 1140"/>
                      <a:gd name="T3" fmla="*/ 0 h 289"/>
                      <a:gd name="T4" fmla="*/ 855 w 1140"/>
                      <a:gd name="T5" fmla="*/ 289 h 289"/>
                      <a:gd name="T6" fmla="*/ 0 w 1140"/>
                      <a:gd name="T7" fmla="*/ 289 h 289"/>
                      <a:gd name="T8" fmla="*/ 318 w 1140"/>
                      <a:gd name="T9" fmla="*/ 0 h 28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0" h="289">
                        <a:moveTo>
                          <a:pt x="318" y="0"/>
                        </a:moveTo>
                        <a:lnTo>
                          <a:pt x="1140" y="0"/>
                        </a:lnTo>
                        <a:lnTo>
                          <a:pt x="855" y="289"/>
                        </a:lnTo>
                        <a:lnTo>
                          <a:pt x="0" y="289"/>
                        </a:lnTo>
                        <a:lnTo>
                          <a:pt x="318" y="0"/>
                        </a:lnTo>
                        <a:close/>
                      </a:path>
                    </a:pathLst>
                  </a:custGeom>
                  <a:solidFill>
                    <a:srgbClr val="EEFF26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2" name="Rectangle 885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5054" y="1587"/>
                    <a:ext cx="215" cy="82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FFC000"/>
                      </a:gs>
                      <a:gs pos="100000">
                        <a:srgbClr val="FFFF00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3" name="Rectangle 887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5298" y="1771"/>
                    <a:ext cx="228" cy="643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B80004"/>
                      </a:gs>
                      <a:gs pos="100000">
                        <a:srgbClr val="FF0000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4" name="Freeform 888"/>
                  <p:cNvSpPr>
                    <a:spLocks/>
                  </p:cNvSpPr>
                  <p:nvPr userDrawn="1"/>
                </p:nvSpPr>
                <p:spPr bwMode="auto">
                  <a:xfrm>
                    <a:off x="5526" y="1686"/>
                    <a:ext cx="85" cy="727"/>
                  </a:xfrm>
                  <a:custGeom>
                    <a:avLst/>
                    <a:gdLst>
                      <a:gd name="T0" fmla="*/ 342 w 342"/>
                      <a:gd name="T1" fmla="*/ 0 h 2911"/>
                      <a:gd name="T2" fmla="*/ 342 w 342"/>
                      <a:gd name="T3" fmla="*/ 2477 h 2911"/>
                      <a:gd name="T4" fmla="*/ 0 w 342"/>
                      <a:gd name="T5" fmla="*/ 2911 h 2911"/>
                      <a:gd name="T6" fmla="*/ 0 w 342"/>
                      <a:gd name="T7" fmla="*/ 334 h 2911"/>
                      <a:gd name="T8" fmla="*/ 342 w 342"/>
                      <a:gd name="T9" fmla="*/ 0 h 29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2" h="2911">
                        <a:moveTo>
                          <a:pt x="342" y="0"/>
                        </a:moveTo>
                        <a:lnTo>
                          <a:pt x="342" y="2477"/>
                        </a:lnTo>
                        <a:lnTo>
                          <a:pt x="0" y="2911"/>
                        </a:lnTo>
                        <a:lnTo>
                          <a:pt x="0" y="334"/>
                        </a:lnTo>
                        <a:lnTo>
                          <a:pt x="342" y="0"/>
                        </a:lnTo>
                        <a:close/>
                      </a:path>
                    </a:pathLst>
                  </a:custGeom>
                  <a:solidFill>
                    <a:srgbClr val="C2001B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  <p:sp>
              <p:nvSpPr>
                <p:cNvPr id="145" name="Vrije vorm 144"/>
                <p:cNvSpPr/>
                <p:nvPr userDrawn="1"/>
              </p:nvSpPr>
              <p:spPr>
                <a:xfrm>
                  <a:off x="11389225" y="1241176"/>
                  <a:ext cx="506025" cy="137883"/>
                </a:xfrm>
                <a:custGeom>
                  <a:avLst/>
                  <a:gdLst>
                    <a:gd name="connsiteX0" fmla="*/ 0 w 508407"/>
                    <a:gd name="connsiteY0" fmla="*/ 142646 h 146304"/>
                    <a:gd name="connsiteX1" fmla="*/ 369418 w 508407"/>
                    <a:gd name="connsiteY1" fmla="*/ 146304 h 146304"/>
                    <a:gd name="connsiteX2" fmla="*/ 508407 w 508407"/>
                    <a:gd name="connsiteY2" fmla="*/ 0 h 146304"/>
                    <a:gd name="connsiteX3" fmla="*/ 168250 w 508407"/>
                    <a:gd name="connsiteY3" fmla="*/ 0 h 146304"/>
                    <a:gd name="connsiteX4" fmla="*/ 0 w 508407"/>
                    <a:gd name="connsiteY4" fmla="*/ 142646 h 146304"/>
                    <a:gd name="connsiteX0" fmla="*/ 0 w 508407"/>
                    <a:gd name="connsiteY0" fmla="*/ 142646 h 142646"/>
                    <a:gd name="connsiteX1" fmla="*/ 376562 w 508407"/>
                    <a:gd name="connsiteY1" fmla="*/ 136779 h 142646"/>
                    <a:gd name="connsiteX2" fmla="*/ 508407 w 508407"/>
                    <a:gd name="connsiteY2" fmla="*/ 0 h 142646"/>
                    <a:gd name="connsiteX3" fmla="*/ 168250 w 508407"/>
                    <a:gd name="connsiteY3" fmla="*/ 0 h 142646"/>
                    <a:gd name="connsiteX4" fmla="*/ 0 w 508407"/>
                    <a:gd name="connsiteY4" fmla="*/ 142646 h 142646"/>
                    <a:gd name="connsiteX0" fmla="*/ 0 w 506025"/>
                    <a:gd name="connsiteY0" fmla="*/ 137883 h 137883"/>
                    <a:gd name="connsiteX1" fmla="*/ 374180 w 506025"/>
                    <a:gd name="connsiteY1" fmla="*/ 136779 h 137883"/>
                    <a:gd name="connsiteX2" fmla="*/ 506025 w 506025"/>
                    <a:gd name="connsiteY2" fmla="*/ 0 h 137883"/>
                    <a:gd name="connsiteX3" fmla="*/ 165868 w 506025"/>
                    <a:gd name="connsiteY3" fmla="*/ 0 h 137883"/>
                    <a:gd name="connsiteX4" fmla="*/ 0 w 506025"/>
                    <a:gd name="connsiteY4" fmla="*/ 137883 h 137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6025" h="137883">
                      <a:moveTo>
                        <a:pt x="0" y="137883"/>
                      </a:moveTo>
                      <a:lnTo>
                        <a:pt x="374180" y="136779"/>
                      </a:lnTo>
                      <a:lnTo>
                        <a:pt x="506025" y="0"/>
                      </a:lnTo>
                      <a:lnTo>
                        <a:pt x="165868" y="0"/>
                      </a:lnTo>
                      <a:lnTo>
                        <a:pt x="0" y="137883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89" name="Groep 88"/>
            <p:cNvGrpSpPr/>
            <p:nvPr/>
          </p:nvGrpSpPr>
          <p:grpSpPr>
            <a:xfrm>
              <a:off x="12487778" y="6003628"/>
              <a:ext cx="1980859" cy="542924"/>
              <a:chOff x="12390702" y="6054428"/>
              <a:chExt cx="1980859" cy="542924"/>
            </a:xfrm>
          </p:grpSpPr>
          <p:sp>
            <p:nvSpPr>
              <p:cNvPr id="108" name="Rechthoek 107"/>
              <p:cNvSpPr/>
              <p:nvPr/>
            </p:nvSpPr>
            <p:spPr>
              <a:xfrm>
                <a:off x="12402284" y="6054428"/>
                <a:ext cx="1969277" cy="54292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109" name="Rechthoek 108"/>
              <p:cNvSpPr/>
              <p:nvPr/>
            </p:nvSpPr>
            <p:spPr>
              <a:xfrm>
                <a:off x="12662053" y="6062530"/>
                <a:ext cx="1268296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100" dirty="0">
                    <a:latin typeface="Calibri" panose="020F0502020204030204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rPr>
                  <a:t>Change chart type</a:t>
                </a:r>
              </a:p>
            </p:txBody>
          </p:sp>
          <p:sp>
            <p:nvSpPr>
              <p:cNvPr id="110" name="Gelijkbenige driehoek 109"/>
              <p:cNvSpPr/>
              <p:nvPr/>
            </p:nvSpPr>
            <p:spPr>
              <a:xfrm rot="5400000">
                <a:off x="14210471" y="6150144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111" name="Afgeronde rechthoek 110"/>
              <p:cNvSpPr/>
              <p:nvPr/>
            </p:nvSpPr>
            <p:spPr>
              <a:xfrm>
                <a:off x="12390702" y="6322741"/>
                <a:ext cx="1973675" cy="268314"/>
              </a:xfrm>
              <a:prstGeom prst="roundRect">
                <a:avLst/>
              </a:prstGeom>
              <a:gradFill>
                <a:gsLst>
                  <a:gs pos="0">
                    <a:srgbClr val="FFF2BD"/>
                  </a:gs>
                  <a:gs pos="34000">
                    <a:srgbClr val="FFE98B"/>
                  </a:gs>
                  <a:gs pos="78000">
                    <a:srgbClr val="FFF5C9"/>
                  </a:gs>
                  <a:gs pos="59000">
                    <a:srgbClr val="FFE98B"/>
                  </a:gs>
                </a:gsLst>
                <a:lin ang="5400000" scaled="0"/>
              </a:gradFill>
              <a:ln w="635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rtlCol="0" anchor="ctr"/>
              <a:lstStyle/>
              <a:p>
                <a:r>
                  <a:rPr lang="en-US" sz="1200" dirty="0">
                    <a:solidFill>
                      <a:schemeClr val="tx1"/>
                    </a:solidFill>
                    <a:latin typeface="Calibri" panose="020F0502020204030204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rPr>
                  <a:t>Edit data</a:t>
                </a:r>
              </a:p>
            </p:txBody>
          </p:sp>
          <p:grpSp>
            <p:nvGrpSpPr>
              <p:cNvPr id="112" name="Groep 111"/>
              <p:cNvGrpSpPr/>
              <p:nvPr/>
            </p:nvGrpSpPr>
            <p:grpSpPr>
              <a:xfrm>
                <a:off x="12461788" y="6100223"/>
                <a:ext cx="204691" cy="170000"/>
                <a:chOff x="15171969" y="1587338"/>
                <a:chExt cx="755407" cy="627385"/>
              </a:xfrm>
            </p:grpSpPr>
            <p:sp>
              <p:nvSpPr>
                <p:cNvPr id="129" name="Rechthoek 962"/>
                <p:cNvSpPr/>
                <p:nvPr userDrawn="1"/>
              </p:nvSpPr>
              <p:spPr>
                <a:xfrm>
                  <a:off x="15171969" y="2008934"/>
                  <a:ext cx="755407" cy="205789"/>
                </a:xfrm>
                <a:custGeom>
                  <a:avLst/>
                  <a:gdLst>
                    <a:gd name="connsiteX0" fmla="*/ 0 w 664132"/>
                    <a:gd name="connsiteY0" fmla="*/ 0 h 277787"/>
                    <a:gd name="connsiteX1" fmla="*/ 664132 w 664132"/>
                    <a:gd name="connsiteY1" fmla="*/ 0 h 277787"/>
                    <a:gd name="connsiteX2" fmla="*/ 664132 w 664132"/>
                    <a:gd name="connsiteY2" fmla="*/ 277787 h 277787"/>
                    <a:gd name="connsiteX3" fmla="*/ 0 w 664132"/>
                    <a:gd name="connsiteY3" fmla="*/ 277787 h 277787"/>
                    <a:gd name="connsiteX4" fmla="*/ 0 w 664132"/>
                    <a:gd name="connsiteY4" fmla="*/ 0 h 277787"/>
                    <a:gd name="connsiteX0" fmla="*/ 0 w 664132"/>
                    <a:gd name="connsiteY0" fmla="*/ 0 h 290487"/>
                    <a:gd name="connsiteX1" fmla="*/ 664132 w 664132"/>
                    <a:gd name="connsiteY1" fmla="*/ 0 h 290487"/>
                    <a:gd name="connsiteX2" fmla="*/ 333932 w 664132"/>
                    <a:gd name="connsiteY2" fmla="*/ 290487 h 290487"/>
                    <a:gd name="connsiteX3" fmla="*/ 0 w 664132"/>
                    <a:gd name="connsiteY3" fmla="*/ 277787 h 290487"/>
                    <a:gd name="connsiteX4" fmla="*/ 0 w 664132"/>
                    <a:gd name="connsiteY4" fmla="*/ 0 h 290487"/>
                    <a:gd name="connsiteX0" fmla="*/ 0 w 664132"/>
                    <a:gd name="connsiteY0" fmla="*/ 0 h 277787"/>
                    <a:gd name="connsiteX1" fmla="*/ 664132 w 664132"/>
                    <a:gd name="connsiteY1" fmla="*/ 0 h 277787"/>
                    <a:gd name="connsiteX2" fmla="*/ 575232 w 664132"/>
                    <a:gd name="connsiteY2" fmla="*/ 271437 h 277787"/>
                    <a:gd name="connsiteX3" fmla="*/ 0 w 664132"/>
                    <a:gd name="connsiteY3" fmla="*/ 277787 h 277787"/>
                    <a:gd name="connsiteX4" fmla="*/ 0 w 664132"/>
                    <a:gd name="connsiteY4" fmla="*/ 0 h 277787"/>
                    <a:gd name="connsiteX0" fmla="*/ 0 w 708582"/>
                    <a:gd name="connsiteY0" fmla="*/ 0 h 277787"/>
                    <a:gd name="connsiteX1" fmla="*/ 708582 w 708582"/>
                    <a:gd name="connsiteY1" fmla="*/ 31750 h 277787"/>
                    <a:gd name="connsiteX2" fmla="*/ 575232 w 708582"/>
                    <a:gd name="connsiteY2" fmla="*/ 271437 h 277787"/>
                    <a:gd name="connsiteX3" fmla="*/ 0 w 708582"/>
                    <a:gd name="connsiteY3" fmla="*/ 277787 h 277787"/>
                    <a:gd name="connsiteX4" fmla="*/ 0 w 708582"/>
                    <a:gd name="connsiteY4" fmla="*/ 0 h 277787"/>
                    <a:gd name="connsiteX0" fmla="*/ 228600 w 708582"/>
                    <a:gd name="connsiteY0" fmla="*/ 6350 h 246037"/>
                    <a:gd name="connsiteX1" fmla="*/ 708582 w 708582"/>
                    <a:gd name="connsiteY1" fmla="*/ 0 h 246037"/>
                    <a:gd name="connsiteX2" fmla="*/ 575232 w 708582"/>
                    <a:gd name="connsiteY2" fmla="*/ 239687 h 246037"/>
                    <a:gd name="connsiteX3" fmla="*/ 0 w 708582"/>
                    <a:gd name="connsiteY3" fmla="*/ 246037 h 246037"/>
                    <a:gd name="connsiteX4" fmla="*/ 228600 w 708582"/>
                    <a:gd name="connsiteY4" fmla="*/ 6350 h 246037"/>
                    <a:gd name="connsiteX0" fmla="*/ 228600 w 778432"/>
                    <a:gd name="connsiteY0" fmla="*/ 0 h 239687"/>
                    <a:gd name="connsiteX1" fmla="*/ 778432 w 778432"/>
                    <a:gd name="connsiteY1" fmla="*/ 25400 h 239687"/>
                    <a:gd name="connsiteX2" fmla="*/ 575232 w 778432"/>
                    <a:gd name="connsiteY2" fmla="*/ 233337 h 239687"/>
                    <a:gd name="connsiteX3" fmla="*/ 0 w 778432"/>
                    <a:gd name="connsiteY3" fmla="*/ 239687 h 239687"/>
                    <a:gd name="connsiteX4" fmla="*/ 228600 w 778432"/>
                    <a:gd name="connsiteY4" fmla="*/ 0 h 239687"/>
                    <a:gd name="connsiteX0" fmla="*/ 228600 w 778432"/>
                    <a:gd name="connsiteY0" fmla="*/ 0 h 214287"/>
                    <a:gd name="connsiteX1" fmla="*/ 778432 w 778432"/>
                    <a:gd name="connsiteY1" fmla="*/ 0 h 214287"/>
                    <a:gd name="connsiteX2" fmla="*/ 575232 w 778432"/>
                    <a:gd name="connsiteY2" fmla="*/ 207937 h 214287"/>
                    <a:gd name="connsiteX3" fmla="*/ 0 w 778432"/>
                    <a:gd name="connsiteY3" fmla="*/ 214287 h 214287"/>
                    <a:gd name="connsiteX4" fmla="*/ 228600 w 778432"/>
                    <a:gd name="connsiteY4" fmla="*/ 0 h 214287"/>
                    <a:gd name="connsiteX0" fmla="*/ 228600 w 730724"/>
                    <a:gd name="connsiteY0" fmla="*/ 3975 h 218262"/>
                    <a:gd name="connsiteX1" fmla="*/ 730724 w 730724"/>
                    <a:gd name="connsiteY1" fmla="*/ 0 h 218262"/>
                    <a:gd name="connsiteX2" fmla="*/ 575232 w 730724"/>
                    <a:gd name="connsiteY2" fmla="*/ 211912 h 218262"/>
                    <a:gd name="connsiteX3" fmla="*/ 0 w 730724"/>
                    <a:gd name="connsiteY3" fmla="*/ 218262 h 218262"/>
                    <a:gd name="connsiteX4" fmla="*/ 228600 w 730724"/>
                    <a:gd name="connsiteY4" fmla="*/ 3975 h 218262"/>
                    <a:gd name="connsiteX0" fmla="*/ 252454 w 754578"/>
                    <a:gd name="connsiteY0" fmla="*/ 3975 h 211912"/>
                    <a:gd name="connsiteX1" fmla="*/ 754578 w 754578"/>
                    <a:gd name="connsiteY1" fmla="*/ 0 h 211912"/>
                    <a:gd name="connsiteX2" fmla="*/ 599086 w 754578"/>
                    <a:gd name="connsiteY2" fmla="*/ 211912 h 211912"/>
                    <a:gd name="connsiteX3" fmla="*/ 0 w 754578"/>
                    <a:gd name="connsiteY3" fmla="*/ 210311 h 211912"/>
                    <a:gd name="connsiteX4" fmla="*/ 252454 w 754578"/>
                    <a:gd name="connsiteY4" fmla="*/ 3975 h 211912"/>
                    <a:gd name="connsiteX0" fmla="*/ 172941 w 754578"/>
                    <a:gd name="connsiteY0" fmla="*/ 0 h 219864"/>
                    <a:gd name="connsiteX1" fmla="*/ 754578 w 754578"/>
                    <a:gd name="connsiteY1" fmla="*/ 7952 h 219864"/>
                    <a:gd name="connsiteX2" fmla="*/ 599086 w 754578"/>
                    <a:gd name="connsiteY2" fmla="*/ 219864 h 219864"/>
                    <a:gd name="connsiteX3" fmla="*/ 0 w 754578"/>
                    <a:gd name="connsiteY3" fmla="*/ 218263 h 219864"/>
                    <a:gd name="connsiteX4" fmla="*/ 172941 w 754578"/>
                    <a:gd name="connsiteY4" fmla="*/ 0 h 219864"/>
                    <a:gd name="connsiteX0" fmla="*/ 172941 w 754578"/>
                    <a:gd name="connsiteY0" fmla="*/ 0 h 223840"/>
                    <a:gd name="connsiteX1" fmla="*/ 754578 w 754578"/>
                    <a:gd name="connsiteY1" fmla="*/ 7952 h 223840"/>
                    <a:gd name="connsiteX2" fmla="*/ 654745 w 754578"/>
                    <a:gd name="connsiteY2" fmla="*/ 223840 h 223840"/>
                    <a:gd name="connsiteX3" fmla="*/ 0 w 754578"/>
                    <a:gd name="connsiteY3" fmla="*/ 218263 h 223840"/>
                    <a:gd name="connsiteX4" fmla="*/ 172941 w 754578"/>
                    <a:gd name="connsiteY4" fmla="*/ 0 h 223840"/>
                    <a:gd name="connsiteX0" fmla="*/ 172941 w 754578"/>
                    <a:gd name="connsiteY0" fmla="*/ 0 h 219864"/>
                    <a:gd name="connsiteX1" fmla="*/ 754578 w 754578"/>
                    <a:gd name="connsiteY1" fmla="*/ 7952 h 219864"/>
                    <a:gd name="connsiteX2" fmla="*/ 646793 w 754578"/>
                    <a:gd name="connsiteY2" fmla="*/ 219864 h 219864"/>
                    <a:gd name="connsiteX3" fmla="*/ 0 w 754578"/>
                    <a:gd name="connsiteY3" fmla="*/ 218263 h 219864"/>
                    <a:gd name="connsiteX4" fmla="*/ 172941 w 754578"/>
                    <a:gd name="connsiteY4" fmla="*/ 0 h 219864"/>
                    <a:gd name="connsiteX0" fmla="*/ 172941 w 818189"/>
                    <a:gd name="connsiteY0" fmla="*/ 0 h 219864"/>
                    <a:gd name="connsiteX1" fmla="*/ 818189 w 818189"/>
                    <a:gd name="connsiteY1" fmla="*/ 31806 h 219864"/>
                    <a:gd name="connsiteX2" fmla="*/ 646793 w 818189"/>
                    <a:gd name="connsiteY2" fmla="*/ 219864 h 219864"/>
                    <a:gd name="connsiteX3" fmla="*/ 0 w 818189"/>
                    <a:gd name="connsiteY3" fmla="*/ 218263 h 219864"/>
                    <a:gd name="connsiteX4" fmla="*/ 172941 w 818189"/>
                    <a:gd name="connsiteY4" fmla="*/ 0 h 219864"/>
                    <a:gd name="connsiteX0" fmla="*/ 172941 w 806262"/>
                    <a:gd name="connsiteY0" fmla="*/ 0 h 219864"/>
                    <a:gd name="connsiteX1" fmla="*/ 806262 w 806262"/>
                    <a:gd name="connsiteY1" fmla="*/ 11928 h 219864"/>
                    <a:gd name="connsiteX2" fmla="*/ 646793 w 806262"/>
                    <a:gd name="connsiteY2" fmla="*/ 219864 h 219864"/>
                    <a:gd name="connsiteX3" fmla="*/ 0 w 806262"/>
                    <a:gd name="connsiteY3" fmla="*/ 218263 h 219864"/>
                    <a:gd name="connsiteX4" fmla="*/ 172941 w 806262"/>
                    <a:gd name="connsiteY4" fmla="*/ 0 h 219864"/>
                    <a:gd name="connsiteX0" fmla="*/ 172941 w 798310"/>
                    <a:gd name="connsiteY0" fmla="*/ 0 h 219864"/>
                    <a:gd name="connsiteX1" fmla="*/ 798310 w 798310"/>
                    <a:gd name="connsiteY1" fmla="*/ 15903 h 219864"/>
                    <a:gd name="connsiteX2" fmla="*/ 646793 w 798310"/>
                    <a:gd name="connsiteY2" fmla="*/ 219864 h 219864"/>
                    <a:gd name="connsiteX3" fmla="*/ 0 w 798310"/>
                    <a:gd name="connsiteY3" fmla="*/ 218263 h 219864"/>
                    <a:gd name="connsiteX4" fmla="*/ 172941 w 798310"/>
                    <a:gd name="connsiteY4" fmla="*/ 0 h 219864"/>
                    <a:gd name="connsiteX0" fmla="*/ 172941 w 798310"/>
                    <a:gd name="connsiteY0" fmla="*/ 0 h 259620"/>
                    <a:gd name="connsiteX1" fmla="*/ 798310 w 798310"/>
                    <a:gd name="connsiteY1" fmla="*/ 15903 h 259620"/>
                    <a:gd name="connsiteX2" fmla="*/ 614988 w 798310"/>
                    <a:gd name="connsiteY2" fmla="*/ 259620 h 259620"/>
                    <a:gd name="connsiteX3" fmla="*/ 0 w 798310"/>
                    <a:gd name="connsiteY3" fmla="*/ 218263 h 259620"/>
                    <a:gd name="connsiteX4" fmla="*/ 172941 w 798310"/>
                    <a:gd name="connsiteY4" fmla="*/ 0 h 259620"/>
                    <a:gd name="connsiteX0" fmla="*/ 188843 w 814212"/>
                    <a:gd name="connsiteY0" fmla="*/ 0 h 259620"/>
                    <a:gd name="connsiteX1" fmla="*/ 814212 w 814212"/>
                    <a:gd name="connsiteY1" fmla="*/ 15903 h 259620"/>
                    <a:gd name="connsiteX2" fmla="*/ 630890 w 814212"/>
                    <a:gd name="connsiteY2" fmla="*/ 259620 h 259620"/>
                    <a:gd name="connsiteX3" fmla="*/ 0 w 814212"/>
                    <a:gd name="connsiteY3" fmla="*/ 254043 h 259620"/>
                    <a:gd name="connsiteX4" fmla="*/ 188843 w 814212"/>
                    <a:gd name="connsiteY4" fmla="*/ 0 h 259620"/>
                    <a:gd name="connsiteX0" fmla="*/ 208721 w 834090"/>
                    <a:gd name="connsiteY0" fmla="*/ 0 h 259620"/>
                    <a:gd name="connsiteX1" fmla="*/ 834090 w 834090"/>
                    <a:gd name="connsiteY1" fmla="*/ 15903 h 259620"/>
                    <a:gd name="connsiteX2" fmla="*/ 650768 w 834090"/>
                    <a:gd name="connsiteY2" fmla="*/ 259620 h 259620"/>
                    <a:gd name="connsiteX3" fmla="*/ 0 w 834090"/>
                    <a:gd name="connsiteY3" fmla="*/ 254043 h 259620"/>
                    <a:gd name="connsiteX4" fmla="*/ 208721 w 834090"/>
                    <a:gd name="connsiteY4" fmla="*/ 0 h 259620"/>
                    <a:gd name="connsiteX0" fmla="*/ 268356 w 893725"/>
                    <a:gd name="connsiteY0" fmla="*/ 0 h 259620"/>
                    <a:gd name="connsiteX1" fmla="*/ 893725 w 893725"/>
                    <a:gd name="connsiteY1" fmla="*/ 15903 h 259620"/>
                    <a:gd name="connsiteX2" fmla="*/ 710403 w 893725"/>
                    <a:gd name="connsiteY2" fmla="*/ 259620 h 259620"/>
                    <a:gd name="connsiteX3" fmla="*/ 0 w 893725"/>
                    <a:gd name="connsiteY3" fmla="*/ 254043 h 259620"/>
                    <a:gd name="connsiteX4" fmla="*/ 268356 w 893725"/>
                    <a:gd name="connsiteY4" fmla="*/ 0 h 259620"/>
                    <a:gd name="connsiteX0" fmla="*/ 260405 w 885774"/>
                    <a:gd name="connsiteY0" fmla="*/ 0 h 259620"/>
                    <a:gd name="connsiteX1" fmla="*/ 885774 w 885774"/>
                    <a:gd name="connsiteY1" fmla="*/ 15903 h 259620"/>
                    <a:gd name="connsiteX2" fmla="*/ 702452 w 885774"/>
                    <a:gd name="connsiteY2" fmla="*/ 259620 h 259620"/>
                    <a:gd name="connsiteX3" fmla="*/ 0 w 885774"/>
                    <a:gd name="connsiteY3" fmla="*/ 254043 h 259620"/>
                    <a:gd name="connsiteX4" fmla="*/ 260405 w 885774"/>
                    <a:gd name="connsiteY4" fmla="*/ 0 h 259620"/>
                    <a:gd name="connsiteX0" fmla="*/ 220648 w 885774"/>
                    <a:gd name="connsiteY0" fmla="*/ 0 h 243717"/>
                    <a:gd name="connsiteX1" fmla="*/ 885774 w 885774"/>
                    <a:gd name="connsiteY1" fmla="*/ 0 h 243717"/>
                    <a:gd name="connsiteX2" fmla="*/ 702452 w 885774"/>
                    <a:gd name="connsiteY2" fmla="*/ 243717 h 243717"/>
                    <a:gd name="connsiteX3" fmla="*/ 0 w 885774"/>
                    <a:gd name="connsiteY3" fmla="*/ 238140 h 243717"/>
                    <a:gd name="connsiteX4" fmla="*/ 220648 w 885774"/>
                    <a:gd name="connsiteY4" fmla="*/ 0 h 243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5774" h="243717">
                      <a:moveTo>
                        <a:pt x="220648" y="0"/>
                      </a:moveTo>
                      <a:lnTo>
                        <a:pt x="885774" y="0"/>
                      </a:lnTo>
                      <a:lnTo>
                        <a:pt x="702452" y="243717"/>
                      </a:lnTo>
                      <a:lnTo>
                        <a:pt x="0" y="238140"/>
                      </a:lnTo>
                      <a:lnTo>
                        <a:pt x="220648" y="0"/>
                      </a:lnTo>
                      <a:close/>
                    </a:path>
                  </a:pathLst>
                </a:cu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>
                  <a:softEdge rad="31750"/>
                </a:effectLst>
              </p:spPr>
              <p:txBody>
                <a:bodyPr rtlCol="0" anchor="ctr"/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30" name="Groep 129"/>
                <p:cNvGrpSpPr/>
                <p:nvPr userDrawn="1"/>
              </p:nvGrpSpPr>
              <p:grpSpPr>
                <a:xfrm>
                  <a:off x="15281106" y="1587338"/>
                  <a:ext cx="511775" cy="560304"/>
                  <a:chOff x="10604642" y="969717"/>
                  <a:chExt cx="1290643" cy="1427163"/>
                </a:xfrm>
              </p:grpSpPr>
              <p:grpSp>
                <p:nvGrpSpPr>
                  <p:cNvPr id="131" name="Group 879"/>
                  <p:cNvGrpSpPr>
                    <a:grpSpLocks noChangeAspect="1"/>
                  </p:cNvGrpSpPr>
                  <p:nvPr userDrawn="1"/>
                </p:nvGrpSpPr>
                <p:grpSpPr bwMode="auto">
                  <a:xfrm>
                    <a:off x="10604642" y="969717"/>
                    <a:ext cx="1290643" cy="1427163"/>
                    <a:chOff x="4798" y="1515"/>
                    <a:chExt cx="813" cy="899"/>
                  </a:xfrm>
                </p:grpSpPr>
                <p:sp>
                  <p:nvSpPr>
                    <p:cNvPr id="133" name="Freeform 886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269" y="1515"/>
                      <a:ext cx="71" cy="898"/>
                    </a:xfrm>
                    <a:custGeom>
                      <a:avLst/>
                      <a:gdLst>
                        <a:gd name="T0" fmla="*/ 282 w 282"/>
                        <a:gd name="T1" fmla="*/ 0 h 3595"/>
                        <a:gd name="T2" fmla="*/ 282 w 282"/>
                        <a:gd name="T3" fmla="*/ 3138 h 3595"/>
                        <a:gd name="T4" fmla="*/ 0 w 282"/>
                        <a:gd name="T5" fmla="*/ 3595 h 3595"/>
                        <a:gd name="T6" fmla="*/ 0 w 282"/>
                        <a:gd name="T7" fmla="*/ 285 h 3595"/>
                        <a:gd name="T8" fmla="*/ 282 w 282"/>
                        <a:gd name="T9" fmla="*/ 0 h 35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2" h="3595">
                          <a:moveTo>
                            <a:pt x="282" y="0"/>
                          </a:moveTo>
                          <a:lnTo>
                            <a:pt x="282" y="3138"/>
                          </a:lnTo>
                          <a:lnTo>
                            <a:pt x="0" y="3595"/>
                          </a:lnTo>
                          <a:lnTo>
                            <a:pt x="0" y="285"/>
                          </a:lnTo>
                          <a:lnTo>
                            <a:pt x="282" y="0"/>
                          </a:lnTo>
                          <a:close/>
                        </a:path>
                      </a:pathLst>
                    </a:custGeom>
                    <a:solidFill>
                      <a:srgbClr val="FFC000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4" name="Rectangle 880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798" y="1515"/>
                      <a:ext cx="813" cy="899"/>
                    </a:xfrm>
                    <a:prstGeom prst="rect">
                      <a:avLst/>
                    </a:prstGeom>
                    <a:no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5" name="Rectangle 881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798" y="1857"/>
                      <a:ext cx="228" cy="557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002060"/>
                        </a:gs>
                        <a:gs pos="100000">
                          <a:srgbClr val="1929FF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6" name="Freeform 882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4798" y="1771"/>
                      <a:ext cx="314" cy="86"/>
                    </a:xfrm>
                    <a:custGeom>
                      <a:avLst/>
                      <a:gdLst>
                        <a:gd name="T0" fmla="*/ 411 w 1255"/>
                        <a:gd name="T1" fmla="*/ 0 h 342"/>
                        <a:gd name="T2" fmla="*/ 1255 w 1255"/>
                        <a:gd name="T3" fmla="*/ 0 h 342"/>
                        <a:gd name="T4" fmla="*/ 913 w 1255"/>
                        <a:gd name="T5" fmla="*/ 342 h 342"/>
                        <a:gd name="T6" fmla="*/ 0 w 1255"/>
                        <a:gd name="T7" fmla="*/ 342 h 342"/>
                        <a:gd name="T8" fmla="*/ 411 w 1255"/>
                        <a:gd name="T9" fmla="*/ 0 h 3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55" h="342">
                          <a:moveTo>
                            <a:pt x="411" y="0"/>
                          </a:moveTo>
                          <a:lnTo>
                            <a:pt x="1255" y="0"/>
                          </a:lnTo>
                          <a:lnTo>
                            <a:pt x="913" y="342"/>
                          </a:lnTo>
                          <a:lnTo>
                            <a:pt x="0" y="342"/>
                          </a:lnTo>
                          <a:lnTo>
                            <a:pt x="411" y="0"/>
                          </a:lnTo>
                          <a:close/>
                        </a:path>
                      </a:pathLst>
                    </a:custGeom>
                    <a:solidFill>
                      <a:srgbClr val="0039AC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7" name="Freeform 883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026" y="1771"/>
                      <a:ext cx="85" cy="642"/>
                    </a:xfrm>
                    <a:custGeom>
                      <a:avLst/>
                      <a:gdLst>
                        <a:gd name="T0" fmla="*/ 342 w 342"/>
                        <a:gd name="T1" fmla="*/ 0 h 2568"/>
                        <a:gd name="T2" fmla="*/ 342 w 342"/>
                        <a:gd name="T3" fmla="*/ 2111 h 2568"/>
                        <a:gd name="T4" fmla="*/ 0 w 342"/>
                        <a:gd name="T5" fmla="*/ 2568 h 2568"/>
                        <a:gd name="T6" fmla="*/ 0 w 342"/>
                        <a:gd name="T7" fmla="*/ 342 h 2568"/>
                        <a:gd name="T8" fmla="*/ 342 w 342"/>
                        <a:gd name="T9" fmla="*/ 0 h 25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42" h="2568">
                          <a:moveTo>
                            <a:pt x="342" y="0"/>
                          </a:moveTo>
                          <a:lnTo>
                            <a:pt x="342" y="2111"/>
                          </a:lnTo>
                          <a:lnTo>
                            <a:pt x="0" y="2568"/>
                          </a:lnTo>
                          <a:lnTo>
                            <a:pt x="0" y="342"/>
                          </a:lnTo>
                          <a:lnTo>
                            <a:pt x="342" y="0"/>
                          </a:lnTo>
                          <a:close/>
                        </a:path>
                      </a:pathLst>
                    </a:custGeom>
                    <a:solidFill>
                      <a:srgbClr val="000075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8" name="Freeform 884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054" y="1515"/>
                      <a:ext cx="286" cy="72"/>
                    </a:xfrm>
                    <a:custGeom>
                      <a:avLst/>
                      <a:gdLst>
                        <a:gd name="T0" fmla="*/ 318 w 1140"/>
                        <a:gd name="T1" fmla="*/ 0 h 289"/>
                        <a:gd name="T2" fmla="*/ 1140 w 1140"/>
                        <a:gd name="T3" fmla="*/ 0 h 289"/>
                        <a:gd name="T4" fmla="*/ 855 w 1140"/>
                        <a:gd name="T5" fmla="*/ 289 h 289"/>
                        <a:gd name="T6" fmla="*/ 0 w 1140"/>
                        <a:gd name="T7" fmla="*/ 289 h 289"/>
                        <a:gd name="T8" fmla="*/ 318 w 1140"/>
                        <a:gd name="T9" fmla="*/ 0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40" h="289">
                          <a:moveTo>
                            <a:pt x="318" y="0"/>
                          </a:moveTo>
                          <a:lnTo>
                            <a:pt x="1140" y="0"/>
                          </a:lnTo>
                          <a:lnTo>
                            <a:pt x="855" y="289"/>
                          </a:lnTo>
                          <a:lnTo>
                            <a:pt x="0" y="289"/>
                          </a:lnTo>
                          <a:lnTo>
                            <a:pt x="318" y="0"/>
                          </a:lnTo>
                          <a:close/>
                        </a:path>
                      </a:pathLst>
                    </a:custGeom>
                    <a:solidFill>
                      <a:srgbClr val="EEFF26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9" name="Rectangle 885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054" y="1587"/>
                      <a:ext cx="215" cy="827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FFC000"/>
                        </a:gs>
                        <a:gs pos="100000">
                          <a:srgbClr val="FFFF00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40" name="Rectangle 887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298" y="1771"/>
                      <a:ext cx="228" cy="643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B80004"/>
                        </a:gs>
                        <a:gs pos="100000">
                          <a:srgbClr val="FF0000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41" name="Freeform 888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526" y="1686"/>
                      <a:ext cx="85" cy="727"/>
                    </a:xfrm>
                    <a:custGeom>
                      <a:avLst/>
                      <a:gdLst>
                        <a:gd name="T0" fmla="*/ 342 w 342"/>
                        <a:gd name="T1" fmla="*/ 0 h 2911"/>
                        <a:gd name="T2" fmla="*/ 342 w 342"/>
                        <a:gd name="T3" fmla="*/ 2477 h 2911"/>
                        <a:gd name="T4" fmla="*/ 0 w 342"/>
                        <a:gd name="T5" fmla="*/ 2911 h 2911"/>
                        <a:gd name="T6" fmla="*/ 0 w 342"/>
                        <a:gd name="T7" fmla="*/ 334 h 2911"/>
                        <a:gd name="T8" fmla="*/ 342 w 342"/>
                        <a:gd name="T9" fmla="*/ 0 h 29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42" h="2911">
                          <a:moveTo>
                            <a:pt x="342" y="0"/>
                          </a:moveTo>
                          <a:lnTo>
                            <a:pt x="342" y="2477"/>
                          </a:lnTo>
                          <a:lnTo>
                            <a:pt x="0" y="2911"/>
                          </a:lnTo>
                          <a:lnTo>
                            <a:pt x="0" y="334"/>
                          </a:lnTo>
                          <a:lnTo>
                            <a:pt x="342" y="0"/>
                          </a:lnTo>
                          <a:close/>
                        </a:path>
                      </a:pathLst>
                    </a:custGeom>
                    <a:solidFill>
                      <a:srgbClr val="C2001B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</p:grpSp>
              <p:sp>
                <p:nvSpPr>
                  <p:cNvPr id="132" name="Vrije vorm 131"/>
                  <p:cNvSpPr/>
                  <p:nvPr userDrawn="1"/>
                </p:nvSpPr>
                <p:spPr>
                  <a:xfrm>
                    <a:off x="11389225" y="1241176"/>
                    <a:ext cx="506025" cy="137883"/>
                  </a:xfrm>
                  <a:custGeom>
                    <a:avLst/>
                    <a:gdLst>
                      <a:gd name="connsiteX0" fmla="*/ 0 w 508407"/>
                      <a:gd name="connsiteY0" fmla="*/ 142646 h 146304"/>
                      <a:gd name="connsiteX1" fmla="*/ 369418 w 508407"/>
                      <a:gd name="connsiteY1" fmla="*/ 146304 h 146304"/>
                      <a:gd name="connsiteX2" fmla="*/ 508407 w 508407"/>
                      <a:gd name="connsiteY2" fmla="*/ 0 h 146304"/>
                      <a:gd name="connsiteX3" fmla="*/ 168250 w 508407"/>
                      <a:gd name="connsiteY3" fmla="*/ 0 h 146304"/>
                      <a:gd name="connsiteX4" fmla="*/ 0 w 508407"/>
                      <a:gd name="connsiteY4" fmla="*/ 142646 h 146304"/>
                      <a:gd name="connsiteX0" fmla="*/ 0 w 508407"/>
                      <a:gd name="connsiteY0" fmla="*/ 142646 h 142646"/>
                      <a:gd name="connsiteX1" fmla="*/ 376562 w 508407"/>
                      <a:gd name="connsiteY1" fmla="*/ 136779 h 142646"/>
                      <a:gd name="connsiteX2" fmla="*/ 508407 w 508407"/>
                      <a:gd name="connsiteY2" fmla="*/ 0 h 142646"/>
                      <a:gd name="connsiteX3" fmla="*/ 168250 w 508407"/>
                      <a:gd name="connsiteY3" fmla="*/ 0 h 142646"/>
                      <a:gd name="connsiteX4" fmla="*/ 0 w 508407"/>
                      <a:gd name="connsiteY4" fmla="*/ 142646 h 142646"/>
                      <a:gd name="connsiteX0" fmla="*/ 0 w 506025"/>
                      <a:gd name="connsiteY0" fmla="*/ 137883 h 137883"/>
                      <a:gd name="connsiteX1" fmla="*/ 374180 w 506025"/>
                      <a:gd name="connsiteY1" fmla="*/ 136779 h 137883"/>
                      <a:gd name="connsiteX2" fmla="*/ 506025 w 506025"/>
                      <a:gd name="connsiteY2" fmla="*/ 0 h 137883"/>
                      <a:gd name="connsiteX3" fmla="*/ 165868 w 506025"/>
                      <a:gd name="connsiteY3" fmla="*/ 0 h 137883"/>
                      <a:gd name="connsiteX4" fmla="*/ 0 w 506025"/>
                      <a:gd name="connsiteY4" fmla="*/ 137883 h 1378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6025" h="137883">
                        <a:moveTo>
                          <a:pt x="0" y="137883"/>
                        </a:moveTo>
                        <a:lnTo>
                          <a:pt x="374180" y="136779"/>
                        </a:lnTo>
                        <a:lnTo>
                          <a:pt x="506025" y="0"/>
                        </a:lnTo>
                        <a:lnTo>
                          <a:pt x="165868" y="0"/>
                        </a:lnTo>
                        <a:lnTo>
                          <a:pt x="0" y="137883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  <p:grpSp>
            <p:nvGrpSpPr>
              <p:cNvPr id="113" name="Groep 112"/>
              <p:cNvGrpSpPr/>
              <p:nvPr/>
            </p:nvGrpSpPr>
            <p:grpSpPr>
              <a:xfrm>
                <a:off x="12468521" y="6356844"/>
                <a:ext cx="133446" cy="114786"/>
                <a:chOff x="14587469" y="6356844"/>
                <a:chExt cx="133446" cy="114786"/>
              </a:xfrm>
            </p:grpSpPr>
            <p:sp>
              <p:nvSpPr>
                <p:cNvPr id="119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4588703" y="6379233"/>
                  <a:ext cx="130780" cy="91699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chemeClr val="bg2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0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4587469" y="6423761"/>
                  <a:ext cx="131076" cy="1446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1" name="Freeform 14"/>
                <p:cNvSpPr>
                  <a:spLocks noEditPoints="1"/>
                </p:cNvSpPr>
                <p:nvPr userDrawn="1"/>
              </p:nvSpPr>
              <p:spPr bwMode="auto">
                <a:xfrm>
                  <a:off x="14588901" y="6356844"/>
                  <a:ext cx="132014" cy="114786"/>
                </a:xfrm>
                <a:custGeom>
                  <a:avLst/>
                  <a:gdLst>
                    <a:gd name="T0" fmla="*/ 48 w 5347"/>
                    <a:gd name="T1" fmla="*/ 48 h 4605"/>
                    <a:gd name="T2" fmla="*/ 48 w 5347"/>
                    <a:gd name="T3" fmla="*/ 4557 h 4605"/>
                    <a:gd name="T4" fmla="*/ 5299 w 5347"/>
                    <a:gd name="T5" fmla="*/ 4557 h 4605"/>
                    <a:gd name="T6" fmla="*/ 5299 w 5347"/>
                    <a:gd name="T7" fmla="*/ 48 h 4605"/>
                    <a:gd name="T8" fmla="*/ 48 w 5347"/>
                    <a:gd name="T9" fmla="*/ 48 h 4605"/>
                    <a:gd name="T10" fmla="*/ 0 w 5347"/>
                    <a:gd name="T11" fmla="*/ 0 h 4605"/>
                    <a:gd name="T12" fmla="*/ 5347 w 5347"/>
                    <a:gd name="T13" fmla="*/ 0 h 4605"/>
                    <a:gd name="T14" fmla="*/ 5347 w 5347"/>
                    <a:gd name="T15" fmla="*/ 4605 h 4605"/>
                    <a:gd name="T16" fmla="*/ 0 w 5347"/>
                    <a:gd name="T17" fmla="*/ 4605 h 4605"/>
                    <a:gd name="T18" fmla="*/ 0 w 5347"/>
                    <a:gd name="T19" fmla="*/ 0 h 46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47" h="4605">
                      <a:moveTo>
                        <a:pt x="48" y="48"/>
                      </a:moveTo>
                      <a:lnTo>
                        <a:pt x="48" y="4557"/>
                      </a:lnTo>
                      <a:lnTo>
                        <a:pt x="5299" y="4557"/>
                      </a:lnTo>
                      <a:lnTo>
                        <a:pt x="5299" y="48"/>
                      </a:lnTo>
                      <a:lnTo>
                        <a:pt x="48" y="48"/>
                      </a:lnTo>
                      <a:close/>
                      <a:moveTo>
                        <a:pt x="0" y="0"/>
                      </a:moveTo>
                      <a:lnTo>
                        <a:pt x="5347" y="0"/>
                      </a:lnTo>
                      <a:lnTo>
                        <a:pt x="5347" y="4605"/>
                      </a:lnTo>
                      <a:lnTo>
                        <a:pt x="0" y="460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E5D8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cxnSp>
              <p:nvCxnSpPr>
                <p:cNvPr id="122" name="Rechte verbindingslijn 121"/>
                <p:cNvCxnSpPr/>
                <p:nvPr userDrawn="1"/>
              </p:nvCxnSpPr>
              <p:spPr>
                <a:xfrm flipH="1">
                  <a:off x="14654334" y="6382168"/>
                  <a:ext cx="162" cy="8649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Rechte verbindingslijn 122"/>
                <p:cNvCxnSpPr/>
                <p:nvPr userDrawn="1"/>
              </p:nvCxnSpPr>
              <p:spPr>
                <a:xfrm>
                  <a:off x="14689188" y="6382168"/>
                  <a:ext cx="0" cy="8649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Rechte verbindingslijn 123"/>
                <p:cNvCxnSpPr/>
                <p:nvPr userDrawn="1"/>
              </p:nvCxnSpPr>
              <p:spPr>
                <a:xfrm>
                  <a:off x="14619892" y="6382040"/>
                  <a:ext cx="0" cy="8577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Rechte verbindingslijn 124"/>
                <p:cNvCxnSpPr/>
                <p:nvPr userDrawn="1"/>
              </p:nvCxnSpPr>
              <p:spPr>
                <a:xfrm flipH="1">
                  <a:off x="14593115" y="6400164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Rechte verbindingslijn 125"/>
                <p:cNvCxnSpPr/>
                <p:nvPr userDrawn="1"/>
              </p:nvCxnSpPr>
              <p:spPr>
                <a:xfrm flipH="1">
                  <a:off x="14593115" y="6423860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Rechte verbindingslijn 126"/>
                <p:cNvCxnSpPr/>
                <p:nvPr userDrawn="1"/>
              </p:nvCxnSpPr>
              <p:spPr>
                <a:xfrm flipH="1">
                  <a:off x="14593115" y="6447556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8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4590283" y="6359138"/>
                  <a:ext cx="128657" cy="19347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192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14" name="Groep 113"/>
              <p:cNvGrpSpPr/>
              <p:nvPr/>
            </p:nvGrpSpPr>
            <p:grpSpPr>
              <a:xfrm>
                <a:off x="12529899" y="6421402"/>
                <a:ext cx="97399" cy="97399"/>
                <a:chOff x="14546483" y="5323041"/>
                <a:chExt cx="242460" cy="242460"/>
              </a:xfrm>
            </p:grpSpPr>
            <p:sp>
              <p:nvSpPr>
                <p:cNvPr id="115" name="Rechthoek 114"/>
                <p:cNvSpPr/>
                <p:nvPr userDrawn="1"/>
              </p:nvSpPr>
              <p:spPr>
                <a:xfrm>
                  <a:off x="14546483" y="5323041"/>
                  <a:ext cx="242460" cy="242460"/>
                </a:xfrm>
                <a:prstGeom prst="rect">
                  <a:avLst/>
                </a:prstGeom>
                <a:solidFill>
                  <a:schemeClr val="bg1"/>
                </a:solidFill>
                <a:ln w="6350">
                  <a:solidFill>
                    <a:srgbClr val="00A4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16" name="Groep 115"/>
                <p:cNvGrpSpPr/>
                <p:nvPr/>
              </p:nvGrpSpPr>
              <p:grpSpPr>
                <a:xfrm>
                  <a:off x="14568035" y="5357818"/>
                  <a:ext cx="199836" cy="175226"/>
                  <a:chOff x="14559757" y="5349611"/>
                  <a:chExt cx="216392" cy="191641"/>
                </a:xfrm>
              </p:grpSpPr>
              <p:sp>
                <p:nvSpPr>
                  <p:cNvPr id="117" name="Parallellogram 116"/>
                  <p:cNvSpPr/>
                  <p:nvPr/>
                </p:nvSpPr>
                <p:spPr>
                  <a:xfrm>
                    <a:off x="14559757" y="5369222"/>
                    <a:ext cx="214316" cy="147762"/>
                  </a:xfrm>
                  <a:prstGeom prst="parallelogram">
                    <a:avLst>
                      <a:gd name="adj" fmla="val 93909"/>
                    </a:avLst>
                  </a:prstGeom>
                  <a:solidFill>
                    <a:srgbClr val="00A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18" name="Parallellogram 117"/>
                  <p:cNvSpPr/>
                  <p:nvPr/>
                </p:nvSpPr>
                <p:spPr>
                  <a:xfrm flipH="1">
                    <a:off x="14561833" y="5349611"/>
                    <a:ext cx="214316" cy="191641"/>
                  </a:xfrm>
                  <a:prstGeom prst="parallelogram">
                    <a:avLst>
                      <a:gd name="adj" fmla="val 68946"/>
                    </a:avLst>
                  </a:prstGeom>
                  <a:solidFill>
                    <a:srgbClr val="00A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</p:grpSp>
        <p:sp>
          <p:nvSpPr>
            <p:cNvPr id="90" name="Rechthoek 89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chemeClr val="bg2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CHART</a:t>
              </a:r>
            </a:p>
          </p:txBody>
        </p:sp>
        <p:sp>
          <p:nvSpPr>
            <p:cNvPr id="91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 chart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2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Select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the </a:t>
              </a:r>
              <a:r>
                <a:rPr lang="en-US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graph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you want to use </a:t>
              </a:r>
              <a:b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</a:t>
              </a:r>
              <a:r>
                <a:rPr lang="en-US" sz="1200" b="1" kern="0" noProof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ert’</a:t>
              </a:r>
              <a:endParaRPr kumimoji="0" lang="nl-NL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3" name="Ovaal 92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94" name="Ovaal 93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95" name="Rechte verbindingslijn 94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96" name="Rechte verbindingslijn 95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97" name="Rechte verbindingslijn 96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sp>
          <p:nvSpPr>
            <p:cNvPr id="98" name="Tekstvak 33"/>
            <p:cNvSpPr txBox="1"/>
            <p:nvPr/>
          </p:nvSpPr>
          <p:spPr>
            <a:xfrm>
              <a:off x="12479311" y="5259838"/>
              <a:ext cx="2588841" cy="447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 the chart, click on the right mouse button and choose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Edit data’</a:t>
              </a:r>
            </a:p>
          </p:txBody>
        </p:sp>
        <p:cxnSp>
          <p:nvCxnSpPr>
            <p:cNvPr id="99" name="Rechte verbindingslijn 98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100" name="Groep 99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104" name="Afgeronde rechthoek 103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 dirty="0"/>
                  <a:t>Insert</a:t>
                </a:r>
              </a:p>
            </p:txBody>
          </p:sp>
          <p:cxnSp>
            <p:nvCxnSpPr>
              <p:cNvPr id="106" name="Rechte verbindingslijn 105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7" name="Gelijkbenige driehoek 106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101" name="Rechthoek 100"/>
            <p:cNvSpPr/>
            <p:nvPr/>
          </p:nvSpPr>
          <p:spPr>
            <a:xfrm>
              <a:off x="12483705" y="4856599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DIT CHART</a:t>
              </a:r>
            </a:p>
          </p:txBody>
        </p:sp>
        <p:cxnSp>
          <p:nvCxnSpPr>
            <p:cNvPr id="102" name="Rechte verbindingslijn 101"/>
            <p:cNvCxnSpPr/>
            <p:nvPr/>
          </p:nvCxnSpPr>
          <p:spPr>
            <a:xfrm>
              <a:off x="12487778" y="5145063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pic>
          <p:nvPicPr>
            <p:cNvPr id="103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54186" y="6395104"/>
              <a:ext cx="158644" cy="2564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25976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Table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4197" y="377838"/>
            <a:ext cx="8455610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enter title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5238750" y="-520700"/>
            <a:ext cx="3905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en-GB" sz="1800" baseline="0" noProof="0" dirty="0"/>
              <a:t>Text + Table (50%/50%)</a:t>
            </a:r>
            <a:endParaRPr lang="en-GB" sz="1800" noProof="0" dirty="0"/>
          </a:p>
        </p:txBody>
      </p:sp>
      <p:sp>
        <p:nvSpPr>
          <p:cNvPr id="86" name="Tijdelijke aanduiding voor tabel 13"/>
          <p:cNvSpPr>
            <a:spLocks noGrp="1"/>
          </p:cNvSpPr>
          <p:nvPr>
            <p:ph type="tbl" sz="quarter" idx="15" hasCustomPrompt="1"/>
          </p:nvPr>
        </p:nvSpPr>
        <p:spPr>
          <a:xfrm>
            <a:off x="4579705" y="1092201"/>
            <a:ext cx="4220100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en-GB" noProof="0" dirty="0"/>
              <a:t>Table</a:t>
            </a:r>
          </a:p>
        </p:txBody>
      </p:sp>
      <p:sp>
        <p:nvSpPr>
          <p:cNvPr id="84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44197" y="1092201"/>
            <a:ext cx="3965150" cy="4680000"/>
          </a:xfrm>
        </p:spPr>
        <p:txBody>
          <a:bodyPr vert="horz"/>
          <a:lstStyle/>
          <a:p>
            <a:pPr lvl="0"/>
            <a:r>
              <a:rPr lang="en-GB" noProof="0" dirty="0"/>
              <a:t>This is header 1</a:t>
            </a:r>
          </a:p>
          <a:p>
            <a:pPr lvl="1"/>
            <a:r>
              <a:rPr lang="en-GB" noProof="0" dirty="0"/>
              <a:t>This is standard text</a:t>
            </a:r>
          </a:p>
          <a:p>
            <a:pPr lvl="2"/>
            <a:r>
              <a:rPr lang="en-GB" noProof="0" dirty="0"/>
              <a:t>First bullet level</a:t>
            </a:r>
          </a:p>
          <a:p>
            <a:pPr lvl="3"/>
            <a:r>
              <a:rPr lang="en-GB" noProof="0" dirty="0"/>
              <a:t>Second bullet level</a:t>
            </a:r>
          </a:p>
          <a:p>
            <a:pPr lvl="4"/>
            <a:r>
              <a:rPr lang="en-GB" noProof="0" dirty="0"/>
              <a:t>Third bullet level</a:t>
            </a:r>
          </a:p>
          <a:p>
            <a:pPr lvl="0"/>
            <a:r>
              <a:rPr lang="en-GB" noProof="0" dirty="0"/>
              <a:t>This is header 1</a:t>
            </a:r>
          </a:p>
          <a:p>
            <a:pPr lvl="1"/>
            <a:r>
              <a:rPr lang="en-GB" noProof="0" dirty="0"/>
              <a:t>This is standard text</a:t>
            </a:r>
          </a:p>
          <a:p>
            <a:pPr lvl="2"/>
            <a:r>
              <a:rPr lang="en-GB" noProof="0" dirty="0"/>
              <a:t>First bullet level</a:t>
            </a:r>
          </a:p>
          <a:p>
            <a:pPr lvl="3"/>
            <a:r>
              <a:rPr lang="en-GB" noProof="0" dirty="0"/>
              <a:t>Second bullet level</a:t>
            </a:r>
          </a:p>
        </p:txBody>
      </p:sp>
      <p:grpSp>
        <p:nvGrpSpPr>
          <p:cNvPr id="207" name="Instruction Table"/>
          <p:cNvGrpSpPr/>
          <p:nvPr userDrawn="1"/>
        </p:nvGrpSpPr>
        <p:grpSpPr>
          <a:xfrm>
            <a:off x="9945083" y="23313"/>
            <a:ext cx="2609094" cy="4339920"/>
            <a:chOff x="12470972" y="-5444"/>
            <a:chExt cx="2609094" cy="4339920"/>
          </a:xfrm>
        </p:grpSpPr>
        <p:grpSp>
          <p:nvGrpSpPr>
            <p:cNvPr id="208" name="Groep 207"/>
            <p:cNvGrpSpPr/>
            <p:nvPr/>
          </p:nvGrpSpPr>
          <p:grpSpPr>
            <a:xfrm>
              <a:off x="12478620" y="1489205"/>
              <a:ext cx="615489" cy="522454"/>
              <a:chOff x="3793456" y="3603"/>
              <a:chExt cx="4527394" cy="473968"/>
            </a:xfrm>
          </p:grpSpPr>
          <p:grpSp>
            <p:nvGrpSpPr>
              <p:cNvPr id="222" name="Group 4"/>
              <p:cNvGrpSpPr>
                <a:grpSpLocks noChangeAspect="1"/>
              </p:cNvGrpSpPr>
              <p:nvPr userDrawn="1"/>
            </p:nvGrpSpPr>
            <p:grpSpPr bwMode="auto">
              <a:xfrm>
                <a:off x="3793456" y="3603"/>
                <a:ext cx="4526989" cy="473968"/>
                <a:chOff x="1782" y="145"/>
                <a:chExt cx="2674" cy="2270"/>
              </a:xfrm>
            </p:grpSpPr>
            <p:sp>
              <p:nvSpPr>
                <p:cNvPr id="229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807" y="145"/>
                  <a:ext cx="2649" cy="2270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rgbClr val="96969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+mj-lt"/>
                  </a:endParaRPr>
                </a:p>
              </p:txBody>
            </p:sp>
            <p:sp>
              <p:nvSpPr>
                <p:cNvPr id="230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799" y="145"/>
                  <a:ext cx="2657" cy="439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009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+mj-lt"/>
                  </a:endParaRPr>
                </a:p>
              </p:txBody>
            </p:sp>
            <p:sp>
              <p:nvSpPr>
                <p:cNvPr id="231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782" y="1469"/>
                  <a:ext cx="2655" cy="29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+mj-lt"/>
                  </a:endParaRPr>
                </a:p>
              </p:txBody>
            </p:sp>
          </p:grpSp>
          <p:cxnSp>
            <p:nvCxnSpPr>
              <p:cNvPr id="223" name="Rechte verbindingslijn 222"/>
              <p:cNvCxnSpPr/>
              <p:nvPr userDrawn="1"/>
            </p:nvCxnSpPr>
            <p:spPr>
              <a:xfrm flipH="1">
                <a:off x="6086136" y="96647"/>
                <a:ext cx="6024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4" name="Rechte verbindingslijn 223"/>
              <p:cNvCxnSpPr/>
              <p:nvPr userDrawn="1"/>
            </p:nvCxnSpPr>
            <p:spPr>
              <a:xfrm>
                <a:off x="7281567" y="96647"/>
                <a:ext cx="0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Rechte verbindingslijn 224"/>
              <p:cNvCxnSpPr/>
              <p:nvPr userDrawn="1"/>
            </p:nvCxnSpPr>
            <p:spPr>
              <a:xfrm>
                <a:off x="4905299" y="96186"/>
                <a:ext cx="0" cy="377505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Rechte verbindingslijn 225"/>
              <p:cNvCxnSpPr/>
              <p:nvPr userDrawn="1"/>
            </p:nvCxnSpPr>
            <p:spPr>
              <a:xfrm flipH="1">
                <a:off x="3836186" y="181242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Rechte verbindingslijn 226"/>
              <p:cNvCxnSpPr/>
              <p:nvPr userDrawn="1"/>
            </p:nvCxnSpPr>
            <p:spPr>
              <a:xfrm flipH="1">
                <a:off x="3836186" y="280466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8" name="Rechte verbindingslijn 227"/>
              <p:cNvCxnSpPr/>
              <p:nvPr userDrawn="1"/>
            </p:nvCxnSpPr>
            <p:spPr>
              <a:xfrm flipH="1">
                <a:off x="3836186" y="392407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9" name="Rechthoek 208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chemeClr val="bg2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TABLE</a:t>
              </a:r>
            </a:p>
          </p:txBody>
        </p:sp>
        <p:sp>
          <p:nvSpPr>
            <p:cNvPr id="210" name="Tekstvak 209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 table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11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 the number of rows and columns you prefer and click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OK’</a:t>
              </a:r>
            </a:p>
          </p:txBody>
        </p:sp>
        <p:sp>
          <p:nvSpPr>
            <p:cNvPr id="212" name="Ovaal 211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13" name="Ovaal 212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14" name="Rechte verbindingslijn 213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215" name="Rechte verbindingslijn 214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216" name="Rechte verbindingslijn 215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217" name="Groep 216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218" name="Afgeronde rechthoek 21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 dirty="0"/>
                  <a:t>OK</a:t>
                </a:r>
              </a:p>
            </p:txBody>
          </p:sp>
          <p:cxnSp>
            <p:nvCxnSpPr>
              <p:cNvPr id="220" name="Rechte verbindingslijn 21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1" name="Gelijkbenige driehoek 22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11" name="Groep 110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112" name="Rechthoek 111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XT LEVELS</a:t>
              </a:r>
            </a:p>
          </p:txBody>
        </p:sp>
        <p:sp>
          <p:nvSpPr>
            <p:cNvPr id="113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ird bullets  (24 pt.)</a:t>
              </a:r>
            </a:p>
          </p:txBody>
        </p:sp>
        <p:sp>
          <p:nvSpPr>
            <p:cNvPr id="114" name="Ovaal 113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15" name="Ovaal 114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16" name="Ovaal 115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17" name="Ovaal 116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18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defPPr>
                <a:defRPr lang="nl-NL"/>
              </a:defPPr>
              <a:lvl1pPr indent="0" defTabSz="1087016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/>
              </a:lvl1pPr>
              <a:lvl2pPr marL="228600" lvl="1" indent="-228600" defTabSz="1087016" fontAlgn="auto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+mj-lt"/>
                <a:buAutoNum type="arabicPeriod"/>
                <a:tabLst/>
                <a:defRPr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defRPr>
              </a:lvl2pPr>
              <a:lvl3pPr marL="396875" indent="-160338" defTabSz="1087016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/>
              </a:lvl3pPr>
              <a:lvl4pPr marL="0" indent="0" defTabSz="1087016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/>
              </a:lvl4pPr>
              <a:lvl5pPr marL="0" indent="0" defTabSz="1087016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baseline="0">
                  <a:solidFill>
                    <a:schemeClr val="tx2"/>
                  </a:solidFill>
                </a:defRPr>
              </a:lvl5pPr>
              <a:lvl6pPr marL="0" indent="0" defTabSz="1087016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6pPr>
              <a:lvl7pPr marL="3532800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7pPr>
              <a:lvl8pPr marL="4076308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8pPr>
              <a:lvl9pPr marL="4619815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9pPr>
            </a:lstStyle>
            <a:p>
              <a:pPr lvl="1"/>
              <a:r>
                <a:rPr lang="nl-NL" dirty="0"/>
                <a:t>Numbers bullets  (24 pt.)</a:t>
              </a:r>
            </a:p>
          </p:txBody>
        </p:sp>
        <p:sp>
          <p:nvSpPr>
            <p:cNvPr id="119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Second bullets (24 pt.)</a:t>
              </a:r>
            </a:p>
          </p:txBody>
        </p:sp>
        <p:cxnSp>
          <p:nvCxnSpPr>
            <p:cNvPr id="120" name="Rechte verbindingslijn 119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121" name="Rechte verbindingslijn 120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122" name="Rechte verbindingslijn 121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123" name="Groep 122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269" name="Afgeronde rechthoek 268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270" name="Groep 269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271" name="Rechthoek 270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2" name="Rechthoek 271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3" name="Rechthoek 272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4" name="Rechthoek 273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5" name="Rechthoek 274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6" name="Rechthoek 275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7" name="Rechthoek 276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8" name="Rechthoek 277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9" name="Rechthoek 278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0" name="Rechthoek 279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1" name="Vrije vorm 280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124" name="Groep 123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247" name="Rechthoek 246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248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49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250" name="Groep 249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264" name="Rechthoek 263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5" name="Rechthoek 264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6" name="Rechthoek 265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7" name="Rechthoek 266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8" name="Rechthoek 267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251" name="Groep 250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252" name="Groep 251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259" name="Rechthoek 258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0" name="Rechthoek 259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1" name="Rechthoek 260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2" name="Rechthoek 261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3" name="Rechthoek 262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253" name="Groep 252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254" name="Rechthoek 253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5" name="Rechthoek 254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6" name="Rechthoek 255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7" name="Rechthoek 256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8" name="Rechthoek 257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125" name="Groep 124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234" name="Afgeronde rechthoek 233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235" name="Groep 234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236" name="Rechthoek 235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37" name="Rechthoek 236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38" name="Rechthoek 237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39" name="Rechthoek 238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0" name="Rechthoek 239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1" name="Rechthoek 240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2" name="Rechthoek 241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3" name="Rechthoek 242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4" name="Rechthoek 243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5" name="Rechthoek 244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6" name="Vrije vorm 245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126" name="Rechte verbindingslijn 125"/>
            <p:cNvCxnSpPr>
              <a:endCxn id="234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127" name="Rechte verbindingslijn 126"/>
            <p:cNvCxnSpPr>
              <a:endCxn id="269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128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up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29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down</a:t>
              </a:r>
            </a:p>
          </p:txBody>
        </p:sp>
        <p:sp>
          <p:nvSpPr>
            <p:cNvPr id="130" name="Ovaal 129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131" name="Groep 130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232" name="Afgeronde rechthoek 231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233" name="Vrije vorm 232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132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Standard text (24 pt.) </a:t>
              </a:r>
            </a:p>
          </p:txBody>
        </p:sp>
        <p:sp>
          <p:nvSpPr>
            <p:cNvPr id="133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Header 1 (28 pt.)</a:t>
              </a:r>
            </a:p>
          </p:txBody>
        </p:sp>
        <p:sp>
          <p:nvSpPr>
            <p:cNvPr id="134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o to the tab Start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ere you will find two buttons as shown below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By means these buttons you can easily switch between text levels.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736679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4197" y="377838"/>
            <a:ext cx="8455610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enter title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5238750" y="-520700"/>
            <a:ext cx="3905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sz="1800" baseline="0" dirty="0"/>
              <a:t>Text + Graph (50%/50%)</a:t>
            </a:r>
            <a:endParaRPr lang="nl-NL" sz="1800" dirty="0"/>
          </a:p>
        </p:txBody>
      </p:sp>
      <p:sp>
        <p:nvSpPr>
          <p:cNvPr id="85" name="Tijdelijke aanduiding voor grafiek 13"/>
          <p:cNvSpPr>
            <a:spLocks noGrp="1"/>
          </p:cNvSpPr>
          <p:nvPr>
            <p:ph type="chart" sz="quarter" idx="16" hasCustomPrompt="1"/>
          </p:nvPr>
        </p:nvSpPr>
        <p:spPr>
          <a:xfrm>
            <a:off x="4581526" y="1092201"/>
            <a:ext cx="4219070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en-GB" noProof="0" dirty="0"/>
              <a:t>Graph</a:t>
            </a:r>
          </a:p>
        </p:txBody>
      </p:sp>
      <p:sp>
        <p:nvSpPr>
          <p:cNvPr id="84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44197" y="1092201"/>
            <a:ext cx="3949208" cy="4680000"/>
          </a:xfrm>
        </p:spPr>
        <p:txBody>
          <a:bodyPr vert="horz"/>
          <a:lstStyle/>
          <a:p>
            <a:pPr lvl="0"/>
            <a:r>
              <a:rPr lang="en-GB" noProof="0" dirty="0"/>
              <a:t>This is header 1</a:t>
            </a:r>
          </a:p>
          <a:p>
            <a:pPr lvl="1"/>
            <a:r>
              <a:rPr lang="en-GB" noProof="0" dirty="0"/>
              <a:t>This is standard text</a:t>
            </a:r>
          </a:p>
          <a:p>
            <a:pPr lvl="2"/>
            <a:r>
              <a:rPr lang="en-GB" noProof="0" dirty="0"/>
              <a:t>First bullet level</a:t>
            </a:r>
          </a:p>
          <a:p>
            <a:pPr lvl="3"/>
            <a:r>
              <a:rPr lang="en-GB" noProof="0" dirty="0"/>
              <a:t>Second bullet level</a:t>
            </a:r>
          </a:p>
          <a:p>
            <a:pPr lvl="4"/>
            <a:r>
              <a:rPr lang="en-GB" noProof="0" dirty="0"/>
              <a:t>Third bullet level</a:t>
            </a:r>
          </a:p>
          <a:p>
            <a:pPr lvl="0"/>
            <a:r>
              <a:rPr lang="en-GB" noProof="0" dirty="0"/>
              <a:t>This is header 1</a:t>
            </a:r>
          </a:p>
          <a:p>
            <a:pPr lvl="1"/>
            <a:r>
              <a:rPr lang="en-GB" noProof="0" dirty="0"/>
              <a:t>This is standard text</a:t>
            </a:r>
          </a:p>
          <a:p>
            <a:pPr lvl="2"/>
            <a:r>
              <a:rPr lang="en-GB" noProof="0" dirty="0"/>
              <a:t>First bullet level</a:t>
            </a:r>
          </a:p>
          <a:p>
            <a:pPr lvl="3"/>
            <a:r>
              <a:rPr lang="en-GB" noProof="0" dirty="0"/>
              <a:t>Second bullet level</a:t>
            </a:r>
          </a:p>
        </p:txBody>
      </p:sp>
      <p:grpSp>
        <p:nvGrpSpPr>
          <p:cNvPr id="293" name="Instruction Chart &amp; Edit"/>
          <p:cNvGrpSpPr/>
          <p:nvPr userDrawn="1"/>
        </p:nvGrpSpPr>
        <p:grpSpPr>
          <a:xfrm>
            <a:off x="9945083" y="23584"/>
            <a:ext cx="2697278" cy="6868888"/>
            <a:chOff x="12382788" y="-5444"/>
            <a:chExt cx="2697278" cy="6868888"/>
          </a:xfrm>
        </p:grpSpPr>
        <p:grpSp>
          <p:nvGrpSpPr>
            <p:cNvPr id="294" name="Groep 293"/>
            <p:cNvGrpSpPr/>
            <p:nvPr userDrawn="1"/>
          </p:nvGrpSpPr>
          <p:grpSpPr>
            <a:xfrm>
              <a:off x="12382788" y="1480224"/>
              <a:ext cx="689983" cy="573048"/>
              <a:chOff x="15171969" y="1587338"/>
              <a:chExt cx="755407" cy="627385"/>
            </a:xfrm>
          </p:grpSpPr>
          <p:sp>
            <p:nvSpPr>
              <p:cNvPr id="348" name="Rechthoek 962"/>
              <p:cNvSpPr/>
              <p:nvPr userDrawn="1"/>
            </p:nvSpPr>
            <p:spPr>
              <a:xfrm>
                <a:off x="15171969" y="2008934"/>
                <a:ext cx="755407" cy="205789"/>
              </a:xfrm>
              <a:custGeom>
                <a:avLst/>
                <a:gdLst>
                  <a:gd name="connsiteX0" fmla="*/ 0 w 664132"/>
                  <a:gd name="connsiteY0" fmla="*/ 0 h 277787"/>
                  <a:gd name="connsiteX1" fmla="*/ 664132 w 664132"/>
                  <a:gd name="connsiteY1" fmla="*/ 0 h 277787"/>
                  <a:gd name="connsiteX2" fmla="*/ 664132 w 664132"/>
                  <a:gd name="connsiteY2" fmla="*/ 277787 h 277787"/>
                  <a:gd name="connsiteX3" fmla="*/ 0 w 664132"/>
                  <a:gd name="connsiteY3" fmla="*/ 277787 h 277787"/>
                  <a:gd name="connsiteX4" fmla="*/ 0 w 664132"/>
                  <a:gd name="connsiteY4" fmla="*/ 0 h 277787"/>
                  <a:gd name="connsiteX0" fmla="*/ 0 w 664132"/>
                  <a:gd name="connsiteY0" fmla="*/ 0 h 290487"/>
                  <a:gd name="connsiteX1" fmla="*/ 664132 w 664132"/>
                  <a:gd name="connsiteY1" fmla="*/ 0 h 290487"/>
                  <a:gd name="connsiteX2" fmla="*/ 333932 w 664132"/>
                  <a:gd name="connsiteY2" fmla="*/ 290487 h 290487"/>
                  <a:gd name="connsiteX3" fmla="*/ 0 w 664132"/>
                  <a:gd name="connsiteY3" fmla="*/ 277787 h 290487"/>
                  <a:gd name="connsiteX4" fmla="*/ 0 w 664132"/>
                  <a:gd name="connsiteY4" fmla="*/ 0 h 290487"/>
                  <a:gd name="connsiteX0" fmla="*/ 0 w 664132"/>
                  <a:gd name="connsiteY0" fmla="*/ 0 h 277787"/>
                  <a:gd name="connsiteX1" fmla="*/ 664132 w 664132"/>
                  <a:gd name="connsiteY1" fmla="*/ 0 h 277787"/>
                  <a:gd name="connsiteX2" fmla="*/ 575232 w 664132"/>
                  <a:gd name="connsiteY2" fmla="*/ 271437 h 277787"/>
                  <a:gd name="connsiteX3" fmla="*/ 0 w 664132"/>
                  <a:gd name="connsiteY3" fmla="*/ 277787 h 277787"/>
                  <a:gd name="connsiteX4" fmla="*/ 0 w 664132"/>
                  <a:gd name="connsiteY4" fmla="*/ 0 h 277787"/>
                  <a:gd name="connsiteX0" fmla="*/ 0 w 708582"/>
                  <a:gd name="connsiteY0" fmla="*/ 0 h 277787"/>
                  <a:gd name="connsiteX1" fmla="*/ 708582 w 708582"/>
                  <a:gd name="connsiteY1" fmla="*/ 31750 h 277787"/>
                  <a:gd name="connsiteX2" fmla="*/ 575232 w 708582"/>
                  <a:gd name="connsiteY2" fmla="*/ 271437 h 277787"/>
                  <a:gd name="connsiteX3" fmla="*/ 0 w 708582"/>
                  <a:gd name="connsiteY3" fmla="*/ 277787 h 277787"/>
                  <a:gd name="connsiteX4" fmla="*/ 0 w 708582"/>
                  <a:gd name="connsiteY4" fmla="*/ 0 h 277787"/>
                  <a:gd name="connsiteX0" fmla="*/ 228600 w 708582"/>
                  <a:gd name="connsiteY0" fmla="*/ 6350 h 246037"/>
                  <a:gd name="connsiteX1" fmla="*/ 708582 w 708582"/>
                  <a:gd name="connsiteY1" fmla="*/ 0 h 246037"/>
                  <a:gd name="connsiteX2" fmla="*/ 575232 w 708582"/>
                  <a:gd name="connsiteY2" fmla="*/ 239687 h 246037"/>
                  <a:gd name="connsiteX3" fmla="*/ 0 w 708582"/>
                  <a:gd name="connsiteY3" fmla="*/ 246037 h 246037"/>
                  <a:gd name="connsiteX4" fmla="*/ 228600 w 708582"/>
                  <a:gd name="connsiteY4" fmla="*/ 6350 h 246037"/>
                  <a:gd name="connsiteX0" fmla="*/ 228600 w 778432"/>
                  <a:gd name="connsiteY0" fmla="*/ 0 h 239687"/>
                  <a:gd name="connsiteX1" fmla="*/ 778432 w 778432"/>
                  <a:gd name="connsiteY1" fmla="*/ 25400 h 239687"/>
                  <a:gd name="connsiteX2" fmla="*/ 575232 w 778432"/>
                  <a:gd name="connsiteY2" fmla="*/ 233337 h 239687"/>
                  <a:gd name="connsiteX3" fmla="*/ 0 w 778432"/>
                  <a:gd name="connsiteY3" fmla="*/ 239687 h 239687"/>
                  <a:gd name="connsiteX4" fmla="*/ 228600 w 778432"/>
                  <a:gd name="connsiteY4" fmla="*/ 0 h 239687"/>
                  <a:gd name="connsiteX0" fmla="*/ 228600 w 778432"/>
                  <a:gd name="connsiteY0" fmla="*/ 0 h 214287"/>
                  <a:gd name="connsiteX1" fmla="*/ 778432 w 778432"/>
                  <a:gd name="connsiteY1" fmla="*/ 0 h 214287"/>
                  <a:gd name="connsiteX2" fmla="*/ 575232 w 778432"/>
                  <a:gd name="connsiteY2" fmla="*/ 207937 h 214287"/>
                  <a:gd name="connsiteX3" fmla="*/ 0 w 778432"/>
                  <a:gd name="connsiteY3" fmla="*/ 214287 h 214287"/>
                  <a:gd name="connsiteX4" fmla="*/ 228600 w 778432"/>
                  <a:gd name="connsiteY4" fmla="*/ 0 h 214287"/>
                  <a:gd name="connsiteX0" fmla="*/ 228600 w 730724"/>
                  <a:gd name="connsiteY0" fmla="*/ 3975 h 218262"/>
                  <a:gd name="connsiteX1" fmla="*/ 730724 w 730724"/>
                  <a:gd name="connsiteY1" fmla="*/ 0 h 218262"/>
                  <a:gd name="connsiteX2" fmla="*/ 575232 w 730724"/>
                  <a:gd name="connsiteY2" fmla="*/ 211912 h 218262"/>
                  <a:gd name="connsiteX3" fmla="*/ 0 w 730724"/>
                  <a:gd name="connsiteY3" fmla="*/ 218262 h 218262"/>
                  <a:gd name="connsiteX4" fmla="*/ 228600 w 730724"/>
                  <a:gd name="connsiteY4" fmla="*/ 3975 h 218262"/>
                  <a:gd name="connsiteX0" fmla="*/ 252454 w 754578"/>
                  <a:gd name="connsiteY0" fmla="*/ 3975 h 211912"/>
                  <a:gd name="connsiteX1" fmla="*/ 754578 w 754578"/>
                  <a:gd name="connsiteY1" fmla="*/ 0 h 211912"/>
                  <a:gd name="connsiteX2" fmla="*/ 599086 w 754578"/>
                  <a:gd name="connsiteY2" fmla="*/ 211912 h 211912"/>
                  <a:gd name="connsiteX3" fmla="*/ 0 w 754578"/>
                  <a:gd name="connsiteY3" fmla="*/ 210311 h 211912"/>
                  <a:gd name="connsiteX4" fmla="*/ 252454 w 754578"/>
                  <a:gd name="connsiteY4" fmla="*/ 3975 h 211912"/>
                  <a:gd name="connsiteX0" fmla="*/ 172941 w 754578"/>
                  <a:gd name="connsiteY0" fmla="*/ 0 h 219864"/>
                  <a:gd name="connsiteX1" fmla="*/ 754578 w 754578"/>
                  <a:gd name="connsiteY1" fmla="*/ 7952 h 219864"/>
                  <a:gd name="connsiteX2" fmla="*/ 599086 w 754578"/>
                  <a:gd name="connsiteY2" fmla="*/ 219864 h 219864"/>
                  <a:gd name="connsiteX3" fmla="*/ 0 w 754578"/>
                  <a:gd name="connsiteY3" fmla="*/ 218263 h 219864"/>
                  <a:gd name="connsiteX4" fmla="*/ 172941 w 754578"/>
                  <a:gd name="connsiteY4" fmla="*/ 0 h 219864"/>
                  <a:gd name="connsiteX0" fmla="*/ 172941 w 754578"/>
                  <a:gd name="connsiteY0" fmla="*/ 0 h 223840"/>
                  <a:gd name="connsiteX1" fmla="*/ 754578 w 754578"/>
                  <a:gd name="connsiteY1" fmla="*/ 7952 h 223840"/>
                  <a:gd name="connsiteX2" fmla="*/ 654745 w 754578"/>
                  <a:gd name="connsiteY2" fmla="*/ 223840 h 223840"/>
                  <a:gd name="connsiteX3" fmla="*/ 0 w 754578"/>
                  <a:gd name="connsiteY3" fmla="*/ 218263 h 223840"/>
                  <a:gd name="connsiteX4" fmla="*/ 172941 w 754578"/>
                  <a:gd name="connsiteY4" fmla="*/ 0 h 223840"/>
                  <a:gd name="connsiteX0" fmla="*/ 172941 w 754578"/>
                  <a:gd name="connsiteY0" fmla="*/ 0 h 219864"/>
                  <a:gd name="connsiteX1" fmla="*/ 754578 w 754578"/>
                  <a:gd name="connsiteY1" fmla="*/ 7952 h 219864"/>
                  <a:gd name="connsiteX2" fmla="*/ 646793 w 754578"/>
                  <a:gd name="connsiteY2" fmla="*/ 219864 h 219864"/>
                  <a:gd name="connsiteX3" fmla="*/ 0 w 754578"/>
                  <a:gd name="connsiteY3" fmla="*/ 218263 h 219864"/>
                  <a:gd name="connsiteX4" fmla="*/ 172941 w 754578"/>
                  <a:gd name="connsiteY4" fmla="*/ 0 h 219864"/>
                  <a:gd name="connsiteX0" fmla="*/ 172941 w 818189"/>
                  <a:gd name="connsiteY0" fmla="*/ 0 h 219864"/>
                  <a:gd name="connsiteX1" fmla="*/ 818189 w 818189"/>
                  <a:gd name="connsiteY1" fmla="*/ 31806 h 219864"/>
                  <a:gd name="connsiteX2" fmla="*/ 646793 w 818189"/>
                  <a:gd name="connsiteY2" fmla="*/ 219864 h 219864"/>
                  <a:gd name="connsiteX3" fmla="*/ 0 w 818189"/>
                  <a:gd name="connsiteY3" fmla="*/ 218263 h 219864"/>
                  <a:gd name="connsiteX4" fmla="*/ 172941 w 818189"/>
                  <a:gd name="connsiteY4" fmla="*/ 0 h 219864"/>
                  <a:gd name="connsiteX0" fmla="*/ 172941 w 806262"/>
                  <a:gd name="connsiteY0" fmla="*/ 0 h 219864"/>
                  <a:gd name="connsiteX1" fmla="*/ 806262 w 806262"/>
                  <a:gd name="connsiteY1" fmla="*/ 11928 h 219864"/>
                  <a:gd name="connsiteX2" fmla="*/ 646793 w 806262"/>
                  <a:gd name="connsiteY2" fmla="*/ 219864 h 219864"/>
                  <a:gd name="connsiteX3" fmla="*/ 0 w 806262"/>
                  <a:gd name="connsiteY3" fmla="*/ 218263 h 219864"/>
                  <a:gd name="connsiteX4" fmla="*/ 172941 w 806262"/>
                  <a:gd name="connsiteY4" fmla="*/ 0 h 219864"/>
                  <a:gd name="connsiteX0" fmla="*/ 172941 w 798310"/>
                  <a:gd name="connsiteY0" fmla="*/ 0 h 219864"/>
                  <a:gd name="connsiteX1" fmla="*/ 798310 w 798310"/>
                  <a:gd name="connsiteY1" fmla="*/ 15903 h 219864"/>
                  <a:gd name="connsiteX2" fmla="*/ 646793 w 798310"/>
                  <a:gd name="connsiteY2" fmla="*/ 219864 h 219864"/>
                  <a:gd name="connsiteX3" fmla="*/ 0 w 798310"/>
                  <a:gd name="connsiteY3" fmla="*/ 218263 h 219864"/>
                  <a:gd name="connsiteX4" fmla="*/ 172941 w 798310"/>
                  <a:gd name="connsiteY4" fmla="*/ 0 h 219864"/>
                  <a:gd name="connsiteX0" fmla="*/ 172941 w 798310"/>
                  <a:gd name="connsiteY0" fmla="*/ 0 h 259620"/>
                  <a:gd name="connsiteX1" fmla="*/ 798310 w 798310"/>
                  <a:gd name="connsiteY1" fmla="*/ 15903 h 259620"/>
                  <a:gd name="connsiteX2" fmla="*/ 614988 w 798310"/>
                  <a:gd name="connsiteY2" fmla="*/ 259620 h 259620"/>
                  <a:gd name="connsiteX3" fmla="*/ 0 w 798310"/>
                  <a:gd name="connsiteY3" fmla="*/ 218263 h 259620"/>
                  <a:gd name="connsiteX4" fmla="*/ 172941 w 798310"/>
                  <a:gd name="connsiteY4" fmla="*/ 0 h 259620"/>
                  <a:gd name="connsiteX0" fmla="*/ 188843 w 814212"/>
                  <a:gd name="connsiteY0" fmla="*/ 0 h 259620"/>
                  <a:gd name="connsiteX1" fmla="*/ 814212 w 814212"/>
                  <a:gd name="connsiteY1" fmla="*/ 15903 h 259620"/>
                  <a:gd name="connsiteX2" fmla="*/ 630890 w 814212"/>
                  <a:gd name="connsiteY2" fmla="*/ 259620 h 259620"/>
                  <a:gd name="connsiteX3" fmla="*/ 0 w 814212"/>
                  <a:gd name="connsiteY3" fmla="*/ 254043 h 259620"/>
                  <a:gd name="connsiteX4" fmla="*/ 188843 w 814212"/>
                  <a:gd name="connsiteY4" fmla="*/ 0 h 259620"/>
                  <a:gd name="connsiteX0" fmla="*/ 208721 w 834090"/>
                  <a:gd name="connsiteY0" fmla="*/ 0 h 259620"/>
                  <a:gd name="connsiteX1" fmla="*/ 834090 w 834090"/>
                  <a:gd name="connsiteY1" fmla="*/ 15903 h 259620"/>
                  <a:gd name="connsiteX2" fmla="*/ 650768 w 834090"/>
                  <a:gd name="connsiteY2" fmla="*/ 259620 h 259620"/>
                  <a:gd name="connsiteX3" fmla="*/ 0 w 834090"/>
                  <a:gd name="connsiteY3" fmla="*/ 254043 h 259620"/>
                  <a:gd name="connsiteX4" fmla="*/ 208721 w 834090"/>
                  <a:gd name="connsiteY4" fmla="*/ 0 h 259620"/>
                  <a:gd name="connsiteX0" fmla="*/ 268356 w 893725"/>
                  <a:gd name="connsiteY0" fmla="*/ 0 h 259620"/>
                  <a:gd name="connsiteX1" fmla="*/ 893725 w 893725"/>
                  <a:gd name="connsiteY1" fmla="*/ 15903 h 259620"/>
                  <a:gd name="connsiteX2" fmla="*/ 710403 w 893725"/>
                  <a:gd name="connsiteY2" fmla="*/ 259620 h 259620"/>
                  <a:gd name="connsiteX3" fmla="*/ 0 w 893725"/>
                  <a:gd name="connsiteY3" fmla="*/ 254043 h 259620"/>
                  <a:gd name="connsiteX4" fmla="*/ 268356 w 893725"/>
                  <a:gd name="connsiteY4" fmla="*/ 0 h 259620"/>
                  <a:gd name="connsiteX0" fmla="*/ 260405 w 885774"/>
                  <a:gd name="connsiteY0" fmla="*/ 0 h 259620"/>
                  <a:gd name="connsiteX1" fmla="*/ 885774 w 885774"/>
                  <a:gd name="connsiteY1" fmla="*/ 15903 h 259620"/>
                  <a:gd name="connsiteX2" fmla="*/ 702452 w 885774"/>
                  <a:gd name="connsiteY2" fmla="*/ 259620 h 259620"/>
                  <a:gd name="connsiteX3" fmla="*/ 0 w 885774"/>
                  <a:gd name="connsiteY3" fmla="*/ 254043 h 259620"/>
                  <a:gd name="connsiteX4" fmla="*/ 260405 w 885774"/>
                  <a:gd name="connsiteY4" fmla="*/ 0 h 259620"/>
                  <a:gd name="connsiteX0" fmla="*/ 220648 w 885774"/>
                  <a:gd name="connsiteY0" fmla="*/ 0 h 243717"/>
                  <a:gd name="connsiteX1" fmla="*/ 885774 w 885774"/>
                  <a:gd name="connsiteY1" fmla="*/ 0 h 243717"/>
                  <a:gd name="connsiteX2" fmla="*/ 702452 w 885774"/>
                  <a:gd name="connsiteY2" fmla="*/ 243717 h 243717"/>
                  <a:gd name="connsiteX3" fmla="*/ 0 w 885774"/>
                  <a:gd name="connsiteY3" fmla="*/ 238140 h 243717"/>
                  <a:gd name="connsiteX4" fmla="*/ 220648 w 885774"/>
                  <a:gd name="connsiteY4" fmla="*/ 0 h 243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5774" h="243717">
                    <a:moveTo>
                      <a:pt x="220648" y="0"/>
                    </a:moveTo>
                    <a:lnTo>
                      <a:pt x="885774" y="0"/>
                    </a:lnTo>
                    <a:lnTo>
                      <a:pt x="702452" y="243717"/>
                    </a:lnTo>
                    <a:lnTo>
                      <a:pt x="0" y="238140"/>
                    </a:lnTo>
                    <a:lnTo>
                      <a:pt x="220648" y="0"/>
                    </a:lnTo>
                    <a:close/>
                  </a:path>
                </a:pathLst>
              </a:custGeom>
              <a:solidFill>
                <a:srgbClr val="FFFFFF">
                  <a:lumMod val="50000"/>
                </a:srgbClr>
              </a:solidFill>
              <a:ln w="25400" cap="flat" cmpd="sng" algn="ctr">
                <a:noFill/>
                <a:prstDash val="solid"/>
              </a:ln>
              <a:effectLst>
                <a:softEdge rad="31750"/>
              </a:effectLst>
            </p:spPr>
            <p:txBody>
              <a:bodyPr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349" name="Groep 348"/>
              <p:cNvGrpSpPr/>
              <p:nvPr userDrawn="1"/>
            </p:nvGrpSpPr>
            <p:grpSpPr>
              <a:xfrm>
                <a:off x="15281106" y="1587338"/>
                <a:ext cx="511775" cy="560304"/>
                <a:chOff x="10604642" y="969717"/>
                <a:chExt cx="1290643" cy="1427163"/>
              </a:xfrm>
            </p:grpSpPr>
            <p:grpSp>
              <p:nvGrpSpPr>
                <p:cNvPr id="350" name="Group 879"/>
                <p:cNvGrpSpPr>
                  <a:grpSpLocks noChangeAspect="1"/>
                </p:cNvGrpSpPr>
                <p:nvPr userDrawn="1"/>
              </p:nvGrpSpPr>
              <p:grpSpPr bwMode="auto">
                <a:xfrm>
                  <a:off x="10604642" y="969717"/>
                  <a:ext cx="1290643" cy="1427163"/>
                  <a:chOff x="4798" y="1515"/>
                  <a:chExt cx="813" cy="899"/>
                </a:xfrm>
              </p:grpSpPr>
              <p:sp>
                <p:nvSpPr>
                  <p:cNvPr id="352" name="Freeform 886"/>
                  <p:cNvSpPr>
                    <a:spLocks/>
                  </p:cNvSpPr>
                  <p:nvPr userDrawn="1"/>
                </p:nvSpPr>
                <p:spPr bwMode="auto">
                  <a:xfrm>
                    <a:off x="5269" y="1515"/>
                    <a:ext cx="71" cy="898"/>
                  </a:xfrm>
                  <a:custGeom>
                    <a:avLst/>
                    <a:gdLst>
                      <a:gd name="T0" fmla="*/ 282 w 282"/>
                      <a:gd name="T1" fmla="*/ 0 h 3595"/>
                      <a:gd name="T2" fmla="*/ 282 w 282"/>
                      <a:gd name="T3" fmla="*/ 3138 h 3595"/>
                      <a:gd name="T4" fmla="*/ 0 w 282"/>
                      <a:gd name="T5" fmla="*/ 3595 h 3595"/>
                      <a:gd name="T6" fmla="*/ 0 w 282"/>
                      <a:gd name="T7" fmla="*/ 285 h 3595"/>
                      <a:gd name="T8" fmla="*/ 282 w 282"/>
                      <a:gd name="T9" fmla="*/ 0 h 35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82" h="3595">
                        <a:moveTo>
                          <a:pt x="282" y="0"/>
                        </a:moveTo>
                        <a:lnTo>
                          <a:pt x="282" y="3138"/>
                        </a:lnTo>
                        <a:lnTo>
                          <a:pt x="0" y="3595"/>
                        </a:lnTo>
                        <a:lnTo>
                          <a:pt x="0" y="285"/>
                        </a:lnTo>
                        <a:lnTo>
                          <a:pt x="282" y="0"/>
                        </a:lnTo>
                        <a:close/>
                      </a:path>
                    </a:pathLst>
                  </a:custGeom>
                  <a:solidFill>
                    <a:srgbClr val="FFC000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353" name="Rectangle 880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798" y="1515"/>
                    <a:ext cx="813" cy="899"/>
                  </a:xfrm>
                  <a:prstGeom prst="rect">
                    <a:avLst/>
                  </a:prstGeom>
                  <a:noFill/>
                  <a:ln w="0">
                    <a:noFill/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354" name="Rectangle 881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798" y="1857"/>
                    <a:ext cx="228" cy="55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002060"/>
                      </a:gs>
                      <a:gs pos="100000">
                        <a:srgbClr val="1929FF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355" name="Freeform 882"/>
                  <p:cNvSpPr>
                    <a:spLocks/>
                  </p:cNvSpPr>
                  <p:nvPr userDrawn="1"/>
                </p:nvSpPr>
                <p:spPr bwMode="auto">
                  <a:xfrm>
                    <a:off x="4798" y="1771"/>
                    <a:ext cx="314" cy="86"/>
                  </a:xfrm>
                  <a:custGeom>
                    <a:avLst/>
                    <a:gdLst>
                      <a:gd name="T0" fmla="*/ 411 w 1255"/>
                      <a:gd name="T1" fmla="*/ 0 h 342"/>
                      <a:gd name="T2" fmla="*/ 1255 w 1255"/>
                      <a:gd name="T3" fmla="*/ 0 h 342"/>
                      <a:gd name="T4" fmla="*/ 913 w 1255"/>
                      <a:gd name="T5" fmla="*/ 342 h 342"/>
                      <a:gd name="T6" fmla="*/ 0 w 1255"/>
                      <a:gd name="T7" fmla="*/ 342 h 342"/>
                      <a:gd name="T8" fmla="*/ 411 w 1255"/>
                      <a:gd name="T9" fmla="*/ 0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255" h="342">
                        <a:moveTo>
                          <a:pt x="411" y="0"/>
                        </a:moveTo>
                        <a:lnTo>
                          <a:pt x="1255" y="0"/>
                        </a:lnTo>
                        <a:lnTo>
                          <a:pt x="913" y="342"/>
                        </a:lnTo>
                        <a:lnTo>
                          <a:pt x="0" y="342"/>
                        </a:lnTo>
                        <a:lnTo>
                          <a:pt x="411" y="0"/>
                        </a:lnTo>
                        <a:close/>
                      </a:path>
                    </a:pathLst>
                  </a:custGeom>
                  <a:solidFill>
                    <a:srgbClr val="0039AC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356" name="Freeform 883"/>
                  <p:cNvSpPr>
                    <a:spLocks/>
                  </p:cNvSpPr>
                  <p:nvPr userDrawn="1"/>
                </p:nvSpPr>
                <p:spPr bwMode="auto">
                  <a:xfrm>
                    <a:off x="5026" y="1771"/>
                    <a:ext cx="85" cy="642"/>
                  </a:xfrm>
                  <a:custGeom>
                    <a:avLst/>
                    <a:gdLst>
                      <a:gd name="T0" fmla="*/ 342 w 342"/>
                      <a:gd name="T1" fmla="*/ 0 h 2568"/>
                      <a:gd name="T2" fmla="*/ 342 w 342"/>
                      <a:gd name="T3" fmla="*/ 2111 h 2568"/>
                      <a:gd name="T4" fmla="*/ 0 w 342"/>
                      <a:gd name="T5" fmla="*/ 2568 h 2568"/>
                      <a:gd name="T6" fmla="*/ 0 w 342"/>
                      <a:gd name="T7" fmla="*/ 342 h 2568"/>
                      <a:gd name="T8" fmla="*/ 342 w 342"/>
                      <a:gd name="T9" fmla="*/ 0 h 25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2" h="2568">
                        <a:moveTo>
                          <a:pt x="342" y="0"/>
                        </a:moveTo>
                        <a:lnTo>
                          <a:pt x="342" y="2111"/>
                        </a:lnTo>
                        <a:lnTo>
                          <a:pt x="0" y="2568"/>
                        </a:lnTo>
                        <a:lnTo>
                          <a:pt x="0" y="342"/>
                        </a:lnTo>
                        <a:lnTo>
                          <a:pt x="342" y="0"/>
                        </a:lnTo>
                        <a:close/>
                      </a:path>
                    </a:pathLst>
                  </a:custGeom>
                  <a:solidFill>
                    <a:srgbClr val="000075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357" name="Freeform 884"/>
                  <p:cNvSpPr>
                    <a:spLocks/>
                  </p:cNvSpPr>
                  <p:nvPr userDrawn="1"/>
                </p:nvSpPr>
                <p:spPr bwMode="auto">
                  <a:xfrm>
                    <a:off x="5054" y="1515"/>
                    <a:ext cx="286" cy="72"/>
                  </a:xfrm>
                  <a:custGeom>
                    <a:avLst/>
                    <a:gdLst>
                      <a:gd name="T0" fmla="*/ 318 w 1140"/>
                      <a:gd name="T1" fmla="*/ 0 h 289"/>
                      <a:gd name="T2" fmla="*/ 1140 w 1140"/>
                      <a:gd name="T3" fmla="*/ 0 h 289"/>
                      <a:gd name="T4" fmla="*/ 855 w 1140"/>
                      <a:gd name="T5" fmla="*/ 289 h 289"/>
                      <a:gd name="T6" fmla="*/ 0 w 1140"/>
                      <a:gd name="T7" fmla="*/ 289 h 289"/>
                      <a:gd name="T8" fmla="*/ 318 w 1140"/>
                      <a:gd name="T9" fmla="*/ 0 h 28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0" h="289">
                        <a:moveTo>
                          <a:pt x="318" y="0"/>
                        </a:moveTo>
                        <a:lnTo>
                          <a:pt x="1140" y="0"/>
                        </a:lnTo>
                        <a:lnTo>
                          <a:pt x="855" y="289"/>
                        </a:lnTo>
                        <a:lnTo>
                          <a:pt x="0" y="289"/>
                        </a:lnTo>
                        <a:lnTo>
                          <a:pt x="318" y="0"/>
                        </a:lnTo>
                        <a:close/>
                      </a:path>
                    </a:pathLst>
                  </a:custGeom>
                  <a:solidFill>
                    <a:srgbClr val="EEFF26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358" name="Rectangle 885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5054" y="1587"/>
                    <a:ext cx="215" cy="82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FFC000"/>
                      </a:gs>
                      <a:gs pos="100000">
                        <a:srgbClr val="FFFF00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359" name="Rectangle 887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5298" y="1771"/>
                    <a:ext cx="228" cy="643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B80004"/>
                      </a:gs>
                      <a:gs pos="100000">
                        <a:srgbClr val="FF0000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360" name="Freeform 888"/>
                  <p:cNvSpPr>
                    <a:spLocks/>
                  </p:cNvSpPr>
                  <p:nvPr userDrawn="1"/>
                </p:nvSpPr>
                <p:spPr bwMode="auto">
                  <a:xfrm>
                    <a:off x="5526" y="1686"/>
                    <a:ext cx="85" cy="727"/>
                  </a:xfrm>
                  <a:custGeom>
                    <a:avLst/>
                    <a:gdLst>
                      <a:gd name="T0" fmla="*/ 342 w 342"/>
                      <a:gd name="T1" fmla="*/ 0 h 2911"/>
                      <a:gd name="T2" fmla="*/ 342 w 342"/>
                      <a:gd name="T3" fmla="*/ 2477 h 2911"/>
                      <a:gd name="T4" fmla="*/ 0 w 342"/>
                      <a:gd name="T5" fmla="*/ 2911 h 2911"/>
                      <a:gd name="T6" fmla="*/ 0 w 342"/>
                      <a:gd name="T7" fmla="*/ 334 h 2911"/>
                      <a:gd name="T8" fmla="*/ 342 w 342"/>
                      <a:gd name="T9" fmla="*/ 0 h 29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2" h="2911">
                        <a:moveTo>
                          <a:pt x="342" y="0"/>
                        </a:moveTo>
                        <a:lnTo>
                          <a:pt x="342" y="2477"/>
                        </a:lnTo>
                        <a:lnTo>
                          <a:pt x="0" y="2911"/>
                        </a:lnTo>
                        <a:lnTo>
                          <a:pt x="0" y="334"/>
                        </a:lnTo>
                        <a:lnTo>
                          <a:pt x="342" y="0"/>
                        </a:lnTo>
                        <a:close/>
                      </a:path>
                    </a:pathLst>
                  </a:custGeom>
                  <a:solidFill>
                    <a:srgbClr val="C2001B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  <p:sp>
              <p:nvSpPr>
                <p:cNvPr id="351" name="Vrije vorm 350"/>
                <p:cNvSpPr/>
                <p:nvPr userDrawn="1"/>
              </p:nvSpPr>
              <p:spPr>
                <a:xfrm>
                  <a:off x="11389225" y="1241176"/>
                  <a:ext cx="506025" cy="137883"/>
                </a:xfrm>
                <a:custGeom>
                  <a:avLst/>
                  <a:gdLst>
                    <a:gd name="connsiteX0" fmla="*/ 0 w 508407"/>
                    <a:gd name="connsiteY0" fmla="*/ 142646 h 146304"/>
                    <a:gd name="connsiteX1" fmla="*/ 369418 w 508407"/>
                    <a:gd name="connsiteY1" fmla="*/ 146304 h 146304"/>
                    <a:gd name="connsiteX2" fmla="*/ 508407 w 508407"/>
                    <a:gd name="connsiteY2" fmla="*/ 0 h 146304"/>
                    <a:gd name="connsiteX3" fmla="*/ 168250 w 508407"/>
                    <a:gd name="connsiteY3" fmla="*/ 0 h 146304"/>
                    <a:gd name="connsiteX4" fmla="*/ 0 w 508407"/>
                    <a:gd name="connsiteY4" fmla="*/ 142646 h 146304"/>
                    <a:gd name="connsiteX0" fmla="*/ 0 w 508407"/>
                    <a:gd name="connsiteY0" fmla="*/ 142646 h 142646"/>
                    <a:gd name="connsiteX1" fmla="*/ 376562 w 508407"/>
                    <a:gd name="connsiteY1" fmla="*/ 136779 h 142646"/>
                    <a:gd name="connsiteX2" fmla="*/ 508407 w 508407"/>
                    <a:gd name="connsiteY2" fmla="*/ 0 h 142646"/>
                    <a:gd name="connsiteX3" fmla="*/ 168250 w 508407"/>
                    <a:gd name="connsiteY3" fmla="*/ 0 h 142646"/>
                    <a:gd name="connsiteX4" fmla="*/ 0 w 508407"/>
                    <a:gd name="connsiteY4" fmla="*/ 142646 h 142646"/>
                    <a:gd name="connsiteX0" fmla="*/ 0 w 506025"/>
                    <a:gd name="connsiteY0" fmla="*/ 137883 h 137883"/>
                    <a:gd name="connsiteX1" fmla="*/ 374180 w 506025"/>
                    <a:gd name="connsiteY1" fmla="*/ 136779 h 137883"/>
                    <a:gd name="connsiteX2" fmla="*/ 506025 w 506025"/>
                    <a:gd name="connsiteY2" fmla="*/ 0 h 137883"/>
                    <a:gd name="connsiteX3" fmla="*/ 165868 w 506025"/>
                    <a:gd name="connsiteY3" fmla="*/ 0 h 137883"/>
                    <a:gd name="connsiteX4" fmla="*/ 0 w 506025"/>
                    <a:gd name="connsiteY4" fmla="*/ 137883 h 137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6025" h="137883">
                      <a:moveTo>
                        <a:pt x="0" y="137883"/>
                      </a:moveTo>
                      <a:lnTo>
                        <a:pt x="374180" y="136779"/>
                      </a:lnTo>
                      <a:lnTo>
                        <a:pt x="506025" y="0"/>
                      </a:lnTo>
                      <a:lnTo>
                        <a:pt x="165868" y="0"/>
                      </a:lnTo>
                      <a:lnTo>
                        <a:pt x="0" y="137883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295" name="Groep 294"/>
            <p:cNvGrpSpPr/>
            <p:nvPr/>
          </p:nvGrpSpPr>
          <p:grpSpPr>
            <a:xfrm>
              <a:off x="12487778" y="6003628"/>
              <a:ext cx="1980859" cy="542924"/>
              <a:chOff x="12390702" y="6054428"/>
              <a:chExt cx="1980859" cy="542924"/>
            </a:xfrm>
          </p:grpSpPr>
          <p:sp>
            <p:nvSpPr>
              <p:cNvPr id="314" name="Rechthoek 313"/>
              <p:cNvSpPr/>
              <p:nvPr/>
            </p:nvSpPr>
            <p:spPr>
              <a:xfrm>
                <a:off x="12402284" y="6054428"/>
                <a:ext cx="1969277" cy="54292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315" name="Rechthoek 314"/>
              <p:cNvSpPr/>
              <p:nvPr/>
            </p:nvSpPr>
            <p:spPr>
              <a:xfrm>
                <a:off x="12662053" y="6062530"/>
                <a:ext cx="1268296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100" dirty="0">
                    <a:latin typeface="Calibri" panose="020F0502020204030204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rPr>
                  <a:t>Change chart type</a:t>
                </a:r>
              </a:p>
            </p:txBody>
          </p:sp>
          <p:sp>
            <p:nvSpPr>
              <p:cNvPr id="316" name="Gelijkbenige driehoek 315"/>
              <p:cNvSpPr/>
              <p:nvPr/>
            </p:nvSpPr>
            <p:spPr>
              <a:xfrm rot="5400000">
                <a:off x="14210471" y="6150144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317" name="Afgeronde rechthoek 316"/>
              <p:cNvSpPr/>
              <p:nvPr/>
            </p:nvSpPr>
            <p:spPr>
              <a:xfrm>
                <a:off x="12390702" y="6322741"/>
                <a:ext cx="1973675" cy="268314"/>
              </a:xfrm>
              <a:prstGeom prst="roundRect">
                <a:avLst/>
              </a:prstGeom>
              <a:gradFill>
                <a:gsLst>
                  <a:gs pos="0">
                    <a:srgbClr val="FFF2BD"/>
                  </a:gs>
                  <a:gs pos="34000">
                    <a:srgbClr val="FFE98B"/>
                  </a:gs>
                  <a:gs pos="78000">
                    <a:srgbClr val="FFF5C9"/>
                  </a:gs>
                  <a:gs pos="59000">
                    <a:srgbClr val="FFE98B"/>
                  </a:gs>
                </a:gsLst>
                <a:lin ang="5400000" scaled="0"/>
              </a:gradFill>
              <a:ln w="635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rtlCol="0" anchor="ctr"/>
              <a:lstStyle/>
              <a:p>
                <a:r>
                  <a:rPr lang="en-US" sz="1200" dirty="0">
                    <a:solidFill>
                      <a:schemeClr val="tx1"/>
                    </a:solidFill>
                    <a:latin typeface="Calibri" panose="020F0502020204030204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rPr>
                  <a:t>Edit data</a:t>
                </a:r>
              </a:p>
            </p:txBody>
          </p:sp>
          <p:grpSp>
            <p:nvGrpSpPr>
              <p:cNvPr id="318" name="Groep 317"/>
              <p:cNvGrpSpPr/>
              <p:nvPr/>
            </p:nvGrpSpPr>
            <p:grpSpPr>
              <a:xfrm>
                <a:off x="12461788" y="6100223"/>
                <a:ext cx="204691" cy="170000"/>
                <a:chOff x="15171969" y="1587338"/>
                <a:chExt cx="755407" cy="627385"/>
              </a:xfrm>
            </p:grpSpPr>
            <p:sp>
              <p:nvSpPr>
                <p:cNvPr id="335" name="Rechthoek 962"/>
                <p:cNvSpPr/>
                <p:nvPr userDrawn="1"/>
              </p:nvSpPr>
              <p:spPr>
                <a:xfrm>
                  <a:off x="15171969" y="2008934"/>
                  <a:ext cx="755407" cy="205789"/>
                </a:xfrm>
                <a:custGeom>
                  <a:avLst/>
                  <a:gdLst>
                    <a:gd name="connsiteX0" fmla="*/ 0 w 664132"/>
                    <a:gd name="connsiteY0" fmla="*/ 0 h 277787"/>
                    <a:gd name="connsiteX1" fmla="*/ 664132 w 664132"/>
                    <a:gd name="connsiteY1" fmla="*/ 0 h 277787"/>
                    <a:gd name="connsiteX2" fmla="*/ 664132 w 664132"/>
                    <a:gd name="connsiteY2" fmla="*/ 277787 h 277787"/>
                    <a:gd name="connsiteX3" fmla="*/ 0 w 664132"/>
                    <a:gd name="connsiteY3" fmla="*/ 277787 h 277787"/>
                    <a:gd name="connsiteX4" fmla="*/ 0 w 664132"/>
                    <a:gd name="connsiteY4" fmla="*/ 0 h 277787"/>
                    <a:gd name="connsiteX0" fmla="*/ 0 w 664132"/>
                    <a:gd name="connsiteY0" fmla="*/ 0 h 290487"/>
                    <a:gd name="connsiteX1" fmla="*/ 664132 w 664132"/>
                    <a:gd name="connsiteY1" fmla="*/ 0 h 290487"/>
                    <a:gd name="connsiteX2" fmla="*/ 333932 w 664132"/>
                    <a:gd name="connsiteY2" fmla="*/ 290487 h 290487"/>
                    <a:gd name="connsiteX3" fmla="*/ 0 w 664132"/>
                    <a:gd name="connsiteY3" fmla="*/ 277787 h 290487"/>
                    <a:gd name="connsiteX4" fmla="*/ 0 w 664132"/>
                    <a:gd name="connsiteY4" fmla="*/ 0 h 290487"/>
                    <a:gd name="connsiteX0" fmla="*/ 0 w 664132"/>
                    <a:gd name="connsiteY0" fmla="*/ 0 h 277787"/>
                    <a:gd name="connsiteX1" fmla="*/ 664132 w 664132"/>
                    <a:gd name="connsiteY1" fmla="*/ 0 h 277787"/>
                    <a:gd name="connsiteX2" fmla="*/ 575232 w 664132"/>
                    <a:gd name="connsiteY2" fmla="*/ 271437 h 277787"/>
                    <a:gd name="connsiteX3" fmla="*/ 0 w 664132"/>
                    <a:gd name="connsiteY3" fmla="*/ 277787 h 277787"/>
                    <a:gd name="connsiteX4" fmla="*/ 0 w 664132"/>
                    <a:gd name="connsiteY4" fmla="*/ 0 h 277787"/>
                    <a:gd name="connsiteX0" fmla="*/ 0 w 708582"/>
                    <a:gd name="connsiteY0" fmla="*/ 0 h 277787"/>
                    <a:gd name="connsiteX1" fmla="*/ 708582 w 708582"/>
                    <a:gd name="connsiteY1" fmla="*/ 31750 h 277787"/>
                    <a:gd name="connsiteX2" fmla="*/ 575232 w 708582"/>
                    <a:gd name="connsiteY2" fmla="*/ 271437 h 277787"/>
                    <a:gd name="connsiteX3" fmla="*/ 0 w 708582"/>
                    <a:gd name="connsiteY3" fmla="*/ 277787 h 277787"/>
                    <a:gd name="connsiteX4" fmla="*/ 0 w 708582"/>
                    <a:gd name="connsiteY4" fmla="*/ 0 h 277787"/>
                    <a:gd name="connsiteX0" fmla="*/ 228600 w 708582"/>
                    <a:gd name="connsiteY0" fmla="*/ 6350 h 246037"/>
                    <a:gd name="connsiteX1" fmla="*/ 708582 w 708582"/>
                    <a:gd name="connsiteY1" fmla="*/ 0 h 246037"/>
                    <a:gd name="connsiteX2" fmla="*/ 575232 w 708582"/>
                    <a:gd name="connsiteY2" fmla="*/ 239687 h 246037"/>
                    <a:gd name="connsiteX3" fmla="*/ 0 w 708582"/>
                    <a:gd name="connsiteY3" fmla="*/ 246037 h 246037"/>
                    <a:gd name="connsiteX4" fmla="*/ 228600 w 708582"/>
                    <a:gd name="connsiteY4" fmla="*/ 6350 h 246037"/>
                    <a:gd name="connsiteX0" fmla="*/ 228600 w 778432"/>
                    <a:gd name="connsiteY0" fmla="*/ 0 h 239687"/>
                    <a:gd name="connsiteX1" fmla="*/ 778432 w 778432"/>
                    <a:gd name="connsiteY1" fmla="*/ 25400 h 239687"/>
                    <a:gd name="connsiteX2" fmla="*/ 575232 w 778432"/>
                    <a:gd name="connsiteY2" fmla="*/ 233337 h 239687"/>
                    <a:gd name="connsiteX3" fmla="*/ 0 w 778432"/>
                    <a:gd name="connsiteY3" fmla="*/ 239687 h 239687"/>
                    <a:gd name="connsiteX4" fmla="*/ 228600 w 778432"/>
                    <a:gd name="connsiteY4" fmla="*/ 0 h 239687"/>
                    <a:gd name="connsiteX0" fmla="*/ 228600 w 778432"/>
                    <a:gd name="connsiteY0" fmla="*/ 0 h 214287"/>
                    <a:gd name="connsiteX1" fmla="*/ 778432 w 778432"/>
                    <a:gd name="connsiteY1" fmla="*/ 0 h 214287"/>
                    <a:gd name="connsiteX2" fmla="*/ 575232 w 778432"/>
                    <a:gd name="connsiteY2" fmla="*/ 207937 h 214287"/>
                    <a:gd name="connsiteX3" fmla="*/ 0 w 778432"/>
                    <a:gd name="connsiteY3" fmla="*/ 214287 h 214287"/>
                    <a:gd name="connsiteX4" fmla="*/ 228600 w 778432"/>
                    <a:gd name="connsiteY4" fmla="*/ 0 h 214287"/>
                    <a:gd name="connsiteX0" fmla="*/ 228600 w 730724"/>
                    <a:gd name="connsiteY0" fmla="*/ 3975 h 218262"/>
                    <a:gd name="connsiteX1" fmla="*/ 730724 w 730724"/>
                    <a:gd name="connsiteY1" fmla="*/ 0 h 218262"/>
                    <a:gd name="connsiteX2" fmla="*/ 575232 w 730724"/>
                    <a:gd name="connsiteY2" fmla="*/ 211912 h 218262"/>
                    <a:gd name="connsiteX3" fmla="*/ 0 w 730724"/>
                    <a:gd name="connsiteY3" fmla="*/ 218262 h 218262"/>
                    <a:gd name="connsiteX4" fmla="*/ 228600 w 730724"/>
                    <a:gd name="connsiteY4" fmla="*/ 3975 h 218262"/>
                    <a:gd name="connsiteX0" fmla="*/ 252454 w 754578"/>
                    <a:gd name="connsiteY0" fmla="*/ 3975 h 211912"/>
                    <a:gd name="connsiteX1" fmla="*/ 754578 w 754578"/>
                    <a:gd name="connsiteY1" fmla="*/ 0 h 211912"/>
                    <a:gd name="connsiteX2" fmla="*/ 599086 w 754578"/>
                    <a:gd name="connsiteY2" fmla="*/ 211912 h 211912"/>
                    <a:gd name="connsiteX3" fmla="*/ 0 w 754578"/>
                    <a:gd name="connsiteY3" fmla="*/ 210311 h 211912"/>
                    <a:gd name="connsiteX4" fmla="*/ 252454 w 754578"/>
                    <a:gd name="connsiteY4" fmla="*/ 3975 h 211912"/>
                    <a:gd name="connsiteX0" fmla="*/ 172941 w 754578"/>
                    <a:gd name="connsiteY0" fmla="*/ 0 h 219864"/>
                    <a:gd name="connsiteX1" fmla="*/ 754578 w 754578"/>
                    <a:gd name="connsiteY1" fmla="*/ 7952 h 219864"/>
                    <a:gd name="connsiteX2" fmla="*/ 599086 w 754578"/>
                    <a:gd name="connsiteY2" fmla="*/ 219864 h 219864"/>
                    <a:gd name="connsiteX3" fmla="*/ 0 w 754578"/>
                    <a:gd name="connsiteY3" fmla="*/ 218263 h 219864"/>
                    <a:gd name="connsiteX4" fmla="*/ 172941 w 754578"/>
                    <a:gd name="connsiteY4" fmla="*/ 0 h 219864"/>
                    <a:gd name="connsiteX0" fmla="*/ 172941 w 754578"/>
                    <a:gd name="connsiteY0" fmla="*/ 0 h 223840"/>
                    <a:gd name="connsiteX1" fmla="*/ 754578 w 754578"/>
                    <a:gd name="connsiteY1" fmla="*/ 7952 h 223840"/>
                    <a:gd name="connsiteX2" fmla="*/ 654745 w 754578"/>
                    <a:gd name="connsiteY2" fmla="*/ 223840 h 223840"/>
                    <a:gd name="connsiteX3" fmla="*/ 0 w 754578"/>
                    <a:gd name="connsiteY3" fmla="*/ 218263 h 223840"/>
                    <a:gd name="connsiteX4" fmla="*/ 172941 w 754578"/>
                    <a:gd name="connsiteY4" fmla="*/ 0 h 223840"/>
                    <a:gd name="connsiteX0" fmla="*/ 172941 w 754578"/>
                    <a:gd name="connsiteY0" fmla="*/ 0 h 219864"/>
                    <a:gd name="connsiteX1" fmla="*/ 754578 w 754578"/>
                    <a:gd name="connsiteY1" fmla="*/ 7952 h 219864"/>
                    <a:gd name="connsiteX2" fmla="*/ 646793 w 754578"/>
                    <a:gd name="connsiteY2" fmla="*/ 219864 h 219864"/>
                    <a:gd name="connsiteX3" fmla="*/ 0 w 754578"/>
                    <a:gd name="connsiteY3" fmla="*/ 218263 h 219864"/>
                    <a:gd name="connsiteX4" fmla="*/ 172941 w 754578"/>
                    <a:gd name="connsiteY4" fmla="*/ 0 h 219864"/>
                    <a:gd name="connsiteX0" fmla="*/ 172941 w 818189"/>
                    <a:gd name="connsiteY0" fmla="*/ 0 h 219864"/>
                    <a:gd name="connsiteX1" fmla="*/ 818189 w 818189"/>
                    <a:gd name="connsiteY1" fmla="*/ 31806 h 219864"/>
                    <a:gd name="connsiteX2" fmla="*/ 646793 w 818189"/>
                    <a:gd name="connsiteY2" fmla="*/ 219864 h 219864"/>
                    <a:gd name="connsiteX3" fmla="*/ 0 w 818189"/>
                    <a:gd name="connsiteY3" fmla="*/ 218263 h 219864"/>
                    <a:gd name="connsiteX4" fmla="*/ 172941 w 818189"/>
                    <a:gd name="connsiteY4" fmla="*/ 0 h 219864"/>
                    <a:gd name="connsiteX0" fmla="*/ 172941 w 806262"/>
                    <a:gd name="connsiteY0" fmla="*/ 0 h 219864"/>
                    <a:gd name="connsiteX1" fmla="*/ 806262 w 806262"/>
                    <a:gd name="connsiteY1" fmla="*/ 11928 h 219864"/>
                    <a:gd name="connsiteX2" fmla="*/ 646793 w 806262"/>
                    <a:gd name="connsiteY2" fmla="*/ 219864 h 219864"/>
                    <a:gd name="connsiteX3" fmla="*/ 0 w 806262"/>
                    <a:gd name="connsiteY3" fmla="*/ 218263 h 219864"/>
                    <a:gd name="connsiteX4" fmla="*/ 172941 w 806262"/>
                    <a:gd name="connsiteY4" fmla="*/ 0 h 219864"/>
                    <a:gd name="connsiteX0" fmla="*/ 172941 w 798310"/>
                    <a:gd name="connsiteY0" fmla="*/ 0 h 219864"/>
                    <a:gd name="connsiteX1" fmla="*/ 798310 w 798310"/>
                    <a:gd name="connsiteY1" fmla="*/ 15903 h 219864"/>
                    <a:gd name="connsiteX2" fmla="*/ 646793 w 798310"/>
                    <a:gd name="connsiteY2" fmla="*/ 219864 h 219864"/>
                    <a:gd name="connsiteX3" fmla="*/ 0 w 798310"/>
                    <a:gd name="connsiteY3" fmla="*/ 218263 h 219864"/>
                    <a:gd name="connsiteX4" fmla="*/ 172941 w 798310"/>
                    <a:gd name="connsiteY4" fmla="*/ 0 h 219864"/>
                    <a:gd name="connsiteX0" fmla="*/ 172941 w 798310"/>
                    <a:gd name="connsiteY0" fmla="*/ 0 h 259620"/>
                    <a:gd name="connsiteX1" fmla="*/ 798310 w 798310"/>
                    <a:gd name="connsiteY1" fmla="*/ 15903 h 259620"/>
                    <a:gd name="connsiteX2" fmla="*/ 614988 w 798310"/>
                    <a:gd name="connsiteY2" fmla="*/ 259620 h 259620"/>
                    <a:gd name="connsiteX3" fmla="*/ 0 w 798310"/>
                    <a:gd name="connsiteY3" fmla="*/ 218263 h 259620"/>
                    <a:gd name="connsiteX4" fmla="*/ 172941 w 798310"/>
                    <a:gd name="connsiteY4" fmla="*/ 0 h 259620"/>
                    <a:gd name="connsiteX0" fmla="*/ 188843 w 814212"/>
                    <a:gd name="connsiteY0" fmla="*/ 0 h 259620"/>
                    <a:gd name="connsiteX1" fmla="*/ 814212 w 814212"/>
                    <a:gd name="connsiteY1" fmla="*/ 15903 h 259620"/>
                    <a:gd name="connsiteX2" fmla="*/ 630890 w 814212"/>
                    <a:gd name="connsiteY2" fmla="*/ 259620 h 259620"/>
                    <a:gd name="connsiteX3" fmla="*/ 0 w 814212"/>
                    <a:gd name="connsiteY3" fmla="*/ 254043 h 259620"/>
                    <a:gd name="connsiteX4" fmla="*/ 188843 w 814212"/>
                    <a:gd name="connsiteY4" fmla="*/ 0 h 259620"/>
                    <a:gd name="connsiteX0" fmla="*/ 208721 w 834090"/>
                    <a:gd name="connsiteY0" fmla="*/ 0 h 259620"/>
                    <a:gd name="connsiteX1" fmla="*/ 834090 w 834090"/>
                    <a:gd name="connsiteY1" fmla="*/ 15903 h 259620"/>
                    <a:gd name="connsiteX2" fmla="*/ 650768 w 834090"/>
                    <a:gd name="connsiteY2" fmla="*/ 259620 h 259620"/>
                    <a:gd name="connsiteX3" fmla="*/ 0 w 834090"/>
                    <a:gd name="connsiteY3" fmla="*/ 254043 h 259620"/>
                    <a:gd name="connsiteX4" fmla="*/ 208721 w 834090"/>
                    <a:gd name="connsiteY4" fmla="*/ 0 h 259620"/>
                    <a:gd name="connsiteX0" fmla="*/ 268356 w 893725"/>
                    <a:gd name="connsiteY0" fmla="*/ 0 h 259620"/>
                    <a:gd name="connsiteX1" fmla="*/ 893725 w 893725"/>
                    <a:gd name="connsiteY1" fmla="*/ 15903 h 259620"/>
                    <a:gd name="connsiteX2" fmla="*/ 710403 w 893725"/>
                    <a:gd name="connsiteY2" fmla="*/ 259620 h 259620"/>
                    <a:gd name="connsiteX3" fmla="*/ 0 w 893725"/>
                    <a:gd name="connsiteY3" fmla="*/ 254043 h 259620"/>
                    <a:gd name="connsiteX4" fmla="*/ 268356 w 893725"/>
                    <a:gd name="connsiteY4" fmla="*/ 0 h 259620"/>
                    <a:gd name="connsiteX0" fmla="*/ 260405 w 885774"/>
                    <a:gd name="connsiteY0" fmla="*/ 0 h 259620"/>
                    <a:gd name="connsiteX1" fmla="*/ 885774 w 885774"/>
                    <a:gd name="connsiteY1" fmla="*/ 15903 h 259620"/>
                    <a:gd name="connsiteX2" fmla="*/ 702452 w 885774"/>
                    <a:gd name="connsiteY2" fmla="*/ 259620 h 259620"/>
                    <a:gd name="connsiteX3" fmla="*/ 0 w 885774"/>
                    <a:gd name="connsiteY3" fmla="*/ 254043 h 259620"/>
                    <a:gd name="connsiteX4" fmla="*/ 260405 w 885774"/>
                    <a:gd name="connsiteY4" fmla="*/ 0 h 259620"/>
                    <a:gd name="connsiteX0" fmla="*/ 220648 w 885774"/>
                    <a:gd name="connsiteY0" fmla="*/ 0 h 243717"/>
                    <a:gd name="connsiteX1" fmla="*/ 885774 w 885774"/>
                    <a:gd name="connsiteY1" fmla="*/ 0 h 243717"/>
                    <a:gd name="connsiteX2" fmla="*/ 702452 w 885774"/>
                    <a:gd name="connsiteY2" fmla="*/ 243717 h 243717"/>
                    <a:gd name="connsiteX3" fmla="*/ 0 w 885774"/>
                    <a:gd name="connsiteY3" fmla="*/ 238140 h 243717"/>
                    <a:gd name="connsiteX4" fmla="*/ 220648 w 885774"/>
                    <a:gd name="connsiteY4" fmla="*/ 0 h 243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5774" h="243717">
                      <a:moveTo>
                        <a:pt x="220648" y="0"/>
                      </a:moveTo>
                      <a:lnTo>
                        <a:pt x="885774" y="0"/>
                      </a:lnTo>
                      <a:lnTo>
                        <a:pt x="702452" y="243717"/>
                      </a:lnTo>
                      <a:lnTo>
                        <a:pt x="0" y="238140"/>
                      </a:lnTo>
                      <a:lnTo>
                        <a:pt x="220648" y="0"/>
                      </a:lnTo>
                      <a:close/>
                    </a:path>
                  </a:pathLst>
                </a:cu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>
                  <a:softEdge rad="31750"/>
                </a:effectLst>
              </p:spPr>
              <p:txBody>
                <a:bodyPr rtlCol="0" anchor="ctr"/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336" name="Groep 335"/>
                <p:cNvGrpSpPr/>
                <p:nvPr userDrawn="1"/>
              </p:nvGrpSpPr>
              <p:grpSpPr>
                <a:xfrm>
                  <a:off x="15281106" y="1587338"/>
                  <a:ext cx="511775" cy="560304"/>
                  <a:chOff x="10604642" y="969717"/>
                  <a:chExt cx="1290643" cy="1427163"/>
                </a:xfrm>
              </p:grpSpPr>
              <p:grpSp>
                <p:nvGrpSpPr>
                  <p:cNvPr id="337" name="Group 879"/>
                  <p:cNvGrpSpPr>
                    <a:grpSpLocks noChangeAspect="1"/>
                  </p:cNvGrpSpPr>
                  <p:nvPr userDrawn="1"/>
                </p:nvGrpSpPr>
                <p:grpSpPr bwMode="auto">
                  <a:xfrm>
                    <a:off x="10604642" y="969717"/>
                    <a:ext cx="1290643" cy="1427163"/>
                    <a:chOff x="4798" y="1515"/>
                    <a:chExt cx="813" cy="899"/>
                  </a:xfrm>
                </p:grpSpPr>
                <p:sp>
                  <p:nvSpPr>
                    <p:cNvPr id="339" name="Freeform 886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269" y="1515"/>
                      <a:ext cx="71" cy="898"/>
                    </a:xfrm>
                    <a:custGeom>
                      <a:avLst/>
                      <a:gdLst>
                        <a:gd name="T0" fmla="*/ 282 w 282"/>
                        <a:gd name="T1" fmla="*/ 0 h 3595"/>
                        <a:gd name="T2" fmla="*/ 282 w 282"/>
                        <a:gd name="T3" fmla="*/ 3138 h 3595"/>
                        <a:gd name="T4" fmla="*/ 0 w 282"/>
                        <a:gd name="T5" fmla="*/ 3595 h 3595"/>
                        <a:gd name="T6" fmla="*/ 0 w 282"/>
                        <a:gd name="T7" fmla="*/ 285 h 3595"/>
                        <a:gd name="T8" fmla="*/ 282 w 282"/>
                        <a:gd name="T9" fmla="*/ 0 h 35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2" h="3595">
                          <a:moveTo>
                            <a:pt x="282" y="0"/>
                          </a:moveTo>
                          <a:lnTo>
                            <a:pt x="282" y="3138"/>
                          </a:lnTo>
                          <a:lnTo>
                            <a:pt x="0" y="3595"/>
                          </a:lnTo>
                          <a:lnTo>
                            <a:pt x="0" y="285"/>
                          </a:lnTo>
                          <a:lnTo>
                            <a:pt x="282" y="0"/>
                          </a:lnTo>
                          <a:close/>
                        </a:path>
                      </a:pathLst>
                    </a:custGeom>
                    <a:solidFill>
                      <a:srgbClr val="FFC000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340" name="Rectangle 880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798" y="1515"/>
                      <a:ext cx="813" cy="899"/>
                    </a:xfrm>
                    <a:prstGeom prst="rect">
                      <a:avLst/>
                    </a:prstGeom>
                    <a:no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341" name="Rectangle 881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798" y="1857"/>
                      <a:ext cx="228" cy="557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002060"/>
                        </a:gs>
                        <a:gs pos="100000">
                          <a:srgbClr val="1929FF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342" name="Freeform 882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4798" y="1771"/>
                      <a:ext cx="314" cy="86"/>
                    </a:xfrm>
                    <a:custGeom>
                      <a:avLst/>
                      <a:gdLst>
                        <a:gd name="T0" fmla="*/ 411 w 1255"/>
                        <a:gd name="T1" fmla="*/ 0 h 342"/>
                        <a:gd name="T2" fmla="*/ 1255 w 1255"/>
                        <a:gd name="T3" fmla="*/ 0 h 342"/>
                        <a:gd name="T4" fmla="*/ 913 w 1255"/>
                        <a:gd name="T5" fmla="*/ 342 h 342"/>
                        <a:gd name="T6" fmla="*/ 0 w 1255"/>
                        <a:gd name="T7" fmla="*/ 342 h 342"/>
                        <a:gd name="T8" fmla="*/ 411 w 1255"/>
                        <a:gd name="T9" fmla="*/ 0 h 3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55" h="342">
                          <a:moveTo>
                            <a:pt x="411" y="0"/>
                          </a:moveTo>
                          <a:lnTo>
                            <a:pt x="1255" y="0"/>
                          </a:lnTo>
                          <a:lnTo>
                            <a:pt x="913" y="342"/>
                          </a:lnTo>
                          <a:lnTo>
                            <a:pt x="0" y="342"/>
                          </a:lnTo>
                          <a:lnTo>
                            <a:pt x="411" y="0"/>
                          </a:lnTo>
                          <a:close/>
                        </a:path>
                      </a:pathLst>
                    </a:custGeom>
                    <a:solidFill>
                      <a:srgbClr val="0039AC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343" name="Freeform 883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026" y="1771"/>
                      <a:ext cx="85" cy="642"/>
                    </a:xfrm>
                    <a:custGeom>
                      <a:avLst/>
                      <a:gdLst>
                        <a:gd name="T0" fmla="*/ 342 w 342"/>
                        <a:gd name="T1" fmla="*/ 0 h 2568"/>
                        <a:gd name="T2" fmla="*/ 342 w 342"/>
                        <a:gd name="T3" fmla="*/ 2111 h 2568"/>
                        <a:gd name="T4" fmla="*/ 0 w 342"/>
                        <a:gd name="T5" fmla="*/ 2568 h 2568"/>
                        <a:gd name="T6" fmla="*/ 0 w 342"/>
                        <a:gd name="T7" fmla="*/ 342 h 2568"/>
                        <a:gd name="T8" fmla="*/ 342 w 342"/>
                        <a:gd name="T9" fmla="*/ 0 h 25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42" h="2568">
                          <a:moveTo>
                            <a:pt x="342" y="0"/>
                          </a:moveTo>
                          <a:lnTo>
                            <a:pt x="342" y="2111"/>
                          </a:lnTo>
                          <a:lnTo>
                            <a:pt x="0" y="2568"/>
                          </a:lnTo>
                          <a:lnTo>
                            <a:pt x="0" y="342"/>
                          </a:lnTo>
                          <a:lnTo>
                            <a:pt x="342" y="0"/>
                          </a:lnTo>
                          <a:close/>
                        </a:path>
                      </a:pathLst>
                    </a:custGeom>
                    <a:solidFill>
                      <a:srgbClr val="000075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344" name="Freeform 884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054" y="1515"/>
                      <a:ext cx="286" cy="72"/>
                    </a:xfrm>
                    <a:custGeom>
                      <a:avLst/>
                      <a:gdLst>
                        <a:gd name="T0" fmla="*/ 318 w 1140"/>
                        <a:gd name="T1" fmla="*/ 0 h 289"/>
                        <a:gd name="T2" fmla="*/ 1140 w 1140"/>
                        <a:gd name="T3" fmla="*/ 0 h 289"/>
                        <a:gd name="T4" fmla="*/ 855 w 1140"/>
                        <a:gd name="T5" fmla="*/ 289 h 289"/>
                        <a:gd name="T6" fmla="*/ 0 w 1140"/>
                        <a:gd name="T7" fmla="*/ 289 h 289"/>
                        <a:gd name="T8" fmla="*/ 318 w 1140"/>
                        <a:gd name="T9" fmla="*/ 0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40" h="289">
                          <a:moveTo>
                            <a:pt x="318" y="0"/>
                          </a:moveTo>
                          <a:lnTo>
                            <a:pt x="1140" y="0"/>
                          </a:lnTo>
                          <a:lnTo>
                            <a:pt x="855" y="289"/>
                          </a:lnTo>
                          <a:lnTo>
                            <a:pt x="0" y="289"/>
                          </a:lnTo>
                          <a:lnTo>
                            <a:pt x="318" y="0"/>
                          </a:lnTo>
                          <a:close/>
                        </a:path>
                      </a:pathLst>
                    </a:custGeom>
                    <a:solidFill>
                      <a:srgbClr val="EEFF26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345" name="Rectangle 885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054" y="1587"/>
                      <a:ext cx="215" cy="827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FFC000"/>
                        </a:gs>
                        <a:gs pos="100000">
                          <a:srgbClr val="FFFF00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346" name="Rectangle 887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298" y="1771"/>
                      <a:ext cx="228" cy="643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B80004"/>
                        </a:gs>
                        <a:gs pos="100000">
                          <a:srgbClr val="FF0000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347" name="Freeform 888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526" y="1686"/>
                      <a:ext cx="85" cy="727"/>
                    </a:xfrm>
                    <a:custGeom>
                      <a:avLst/>
                      <a:gdLst>
                        <a:gd name="T0" fmla="*/ 342 w 342"/>
                        <a:gd name="T1" fmla="*/ 0 h 2911"/>
                        <a:gd name="T2" fmla="*/ 342 w 342"/>
                        <a:gd name="T3" fmla="*/ 2477 h 2911"/>
                        <a:gd name="T4" fmla="*/ 0 w 342"/>
                        <a:gd name="T5" fmla="*/ 2911 h 2911"/>
                        <a:gd name="T6" fmla="*/ 0 w 342"/>
                        <a:gd name="T7" fmla="*/ 334 h 2911"/>
                        <a:gd name="T8" fmla="*/ 342 w 342"/>
                        <a:gd name="T9" fmla="*/ 0 h 29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42" h="2911">
                          <a:moveTo>
                            <a:pt x="342" y="0"/>
                          </a:moveTo>
                          <a:lnTo>
                            <a:pt x="342" y="2477"/>
                          </a:lnTo>
                          <a:lnTo>
                            <a:pt x="0" y="2911"/>
                          </a:lnTo>
                          <a:lnTo>
                            <a:pt x="0" y="334"/>
                          </a:lnTo>
                          <a:lnTo>
                            <a:pt x="342" y="0"/>
                          </a:lnTo>
                          <a:close/>
                        </a:path>
                      </a:pathLst>
                    </a:custGeom>
                    <a:solidFill>
                      <a:srgbClr val="C2001B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</p:grpSp>
              <p:sp>
                <p:nvSpPr>
                  <p:cNvPr id="338" name="Vrije vorm 337"/>
                  <p:cNvSpPr/>
                  <p:nvPr userDrawn="1"/>
                </p:nvSpPr>
                <p:spPr>
                  <a:xfrm>
                    <a:off x="11389225" y="1241176"/>
                    <a:ext cx="506025" cy="137883"/>
                  </a:xfrm>
                  <a:custGeom>
                    <a:avLst/>
                    <a:gdLst>
                      <a:gd name="connsiteX0" fmla="*/ 0 w 508407"/>
                      <a:gd name="connsiteY0" fmla="*/ 142646 h 146304"/>
                      <a:gd name="connsiteX1" fmla="*/ 369418 w 508407"/>
                      <a:gd name="connsiteY1" fmla="*/ 146304 h 146304"/>
                      <a:gd name="connsiteX2" fmla="*/ 508407 w 508407"/>
                      <a:gd name="connsiteY2" fmla="*/ 0 h 146304"/>
                      <a:gd name="connsiteX3" fmla="*/ 168250 w 508407"/>
                      <a:gd name="connsiteY3" fmla="*/ 0 h 146304"/>
                      <a:gd name="connsiteX4" fmla="*/ 0 w 508407"/>
                      <a:gd name="connsiteY4" fmla="*/ 142646 h 146304"/>
                      <a:gd name="connsiteX0" fmla="*/ 0 w 508407"/>
                      <a:gd name="connsiteY0" fmla="*/ 142646 h 142646"/>
                      <a:gd name="connsiteX1" fmla="*/ 376562 w 508407"/>
                      <a:gd name="connsiteY1" fmla="*/ 136779 h 142646"/>
                      <a:gd name="connsiteX2" fmla="*/ 508407 w 508407"/>
                      <a:gd name="connsiteY2" fmla="*/ 0 h 142646"/>
                      <a:gd name="connsiteX3" fmla="*/ 168250 w 508407"/>
                      <a:gd name="connsiteY3" fmla="*/ 0 h 142646"/>
                      <a:gd name="connsiteX4" fmla="*/ 0 w 508407"/>
                      <a:gd name="connsiteY4" fmla="*/ 142646 h 142646"/>
                      <a:gd name="connsiteX0" fmla="*/ 0 w 506025"/>
                      <a:gd name="connsiteY0" fmla="*/ 137883 h 137883"/>
                      <a:gd name="connsiteX1" fmla="*/ 374180 w 506025"/>
                      <a:gd name="connsiteY1" fmla="*/ 136779 h 137883"/>
                      <a:gd name="connsiteX2" fmla="*/ 506025 w 506025"/>
                      <a:gd name="connsiteY2" fmla="*/ 0 h 137883"/>
                      <a:gd name="connsiteX3" fmla="*/ 165868 w 506025"/>
                      <a:gd name="connsiteY3" fmla="*/ 0 h 137883"/>
                      <a:gd name="connsiteX4" fmla="*/ 0 w 506025"/>
                      <a:gd name="connsiteY4" fmla="*/ 137883 h 1378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6025" h="137883">
                        <a:moveTo>
                          <a:pt x="0" y="137883"/>
                        </a:moveTo>
                        <a:lnTo>
                          <a:pt x="374180" y="136779"/>
                        </a:lnTo>
                        <a:lnTo>
                          <a:pt x="506025" y="0"/>
                        </a:lnTo>
                        <a:lnTo>
                          <a:pt x="165868" y="0"/>
                        </a:lnTo>
                        <a:lnTo>
                          <a:pt x="0" y="137883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  <p:grpSp>
            <p:nvGrpSpPr>
              <p:cNvPr id="319" name="Groep 318"/>
              <p:cNvGrpSpPr/>
              <p:nvPr/>
            </p:nvGrpSpPr>
            <p:grpSpPr>
              <a:xfrm>
                <a:off x="12468521" y="6356844"/>
                <a:ext cx="133446" cy="114786"/>
                <a:chOff x="14587469" y="6356844"/>
                <a:chExt cx="133446" cy="114786"/>
              </a:xfrm>
            </p:grpSpPr>
            <p:sp>
              <p:nvSpPr>
                <p:cNvPr id="325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4588703" y="6379233"/>
                  <a:ext cx="130780" cy="91699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chemeClr val="bg2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26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4587469" y="6423761"/>
                  <a:ext cx="131076" cy="1446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27" name="Freeform 14"/>
                <p:cNvSpPr>
                  <a:spLocks noEditPoints="1"/>
                </p:cNvSpPr>
                <p:nvPr userDrawn="1"/>
              </p:nvSpPr>
              <p:spPr bwMode="auto">
                <a:xfrm>
                  <a:off x="14588901" y="6356844"/>
                  <a:ext cx="132014" cy="114786"/>
                </a:xfrm>
                <a:custGeom>
                  <a:avLst/>
                  <a:gdLst>
                    <a:gd name="T0" fmla="*/ 48 w 5347"/>
                    <a:gd name="T1" fmla="*/ 48 h 4605"/>
                    <a:gd name="T2" fmla="*/ 48 w 5347"/>
                    <a:gd name="T3" fmla="*/ 4557 h 4605"/>
                    <a:gd name="T4" fmla="*/ 5299 w 5347"/>
                    <a:gd name="T5" fmla="*/ 4557 h 4605"/>
                    <a:gd name="T6" fmla="*/ 5299 w 5347"/>
                    <a:gd name="T7" fmla="*/ 48 h 4605"/>
                    <a:gd name="T8" fmla="*/ 48 w 5347"/>
                    <a:gd name="T9" fmla="*/ 48 h 4605"/>
                    <a:gd name="T10" fmla="*/ 0 w 5347"/>
                    <a:gd name="T11" fmla="*/ 0 h 4605"/>
                    <a:gd name="T12" fmla="*/ 5347 w 5347"/>
                    <a:gd name="T13" fmla="*/ 0 h 4605"/>
                    <a:gd name="T14" fmla="*/ 5347 w 5347"/>
                    <a:gd name="T15" fmla="*/ 4605 h 4605"/>
                    <a:gd name="T16" fmla="*/ 0 w 5347"/>
                    <a:gd name="T17" fmla="*/ 4605 h 4605"/>
                    <a:gd name="T18" fmla="*/ 0 w 5347"/>
                    <a:gd name="T19" fmla="*/ 0 h 46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47" h="4605">
                      <a:moveTo>
                        <a:pt x="48" y="48"/>
                      </a:moveTo>
                      <a:lnTo>
                        <a:pt x="48" y="4557"/>
                      </a:lnTo>
                      <a:lnTo>
                        <a:pt x="5299" y="4557"/>
                      </a:lnTo>
                      <a:lnTo>
                        <a:pt x="5299" y="48"/>
                      </a:lnTo>
                      <a:lnTo>
                        <a:pt x="48" y="48"/>
                      </a:lnTo>
                      <a:close/>
                      <a:moveTo>
                        <a:pt x="0" y="0"/>
                      </a:moveTo>
                      <a:lnTo>
                        <a:pt x="5347" y="0"/>
                      </a:lnTo>
                      <a:lnTo>
                        <a:pt x="5347" y="4605"/>
                      </a:lnTo>
                      <a:lnTo>
                        <a:pt x="0" y="460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E5D8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cxnSp>
              <p:nvCxnSpPr>
                <p:cNvPr id="328" name="Rechte verbindingslijn 327"/>
                <p:cNvCxnSpPr/>
                <p:nvPr userDrawn="1"/>
              </p:nvCxnSpPr>
              <p:spPr>
                <a:xfrm flipH="1">
                  <a:off x="14654334" y="6382168"/>
                  <a:ext cx="162" cy="8649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9" name="Rechte verbindingslijn 328"/>
                <p:cNvCxnSpPr/>
                <p:nvPr userDrawn="1"/>
              </p:nvCxnSpPr>
              <p:spPr>
                <a:xfrm>
                  <a:off x="14689188" y="6382168"/>
                  <a:ext cx="0" cy="8649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0" name="Rechte verbindingslijn 329"/>
                <p:cNvCxnSpPr/>
                <p:nvPr userDrawn="1"/>
              </p:nvCxnSpPr>
              <p:spPr>
                <a:xfrm>
                  <a:off x="14619892" y="6382040"/>
                  <a:ext cx="0" cy="8577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1" name="Rechte verbindingslijn 330"/>
                <p:cNvCxnSpPr/>
                <p:nvPr userDrawn="1"/>
              </p:nvCxnSpPr>
              <p:spPr>
                <a:xfrm flipH="1">
                  <a:off x="14593115" y="6400164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2" name="Rechte verbindingslijn 331"/>
                <p:cNvCxnSpPr/>
                <p:nvPr userDrawn="1"/>
              </p:nvCxnSpPr>
              <p:spPr>
                <a:xfrm flipH="1">
                  <a:off x="14593115" y="6423860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3" name="Rechte verbindingslijn 332"/>
                <p:cNvCxnSpPr/>
                <p:nvPr userDrawn="1"/>
              </p:nvCxnSpPr>
              <p:spPr>
                <a:xfrm flipH="1">
                  <a:off x="14593115" y="6447556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4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4590283" y="6359138"/>
                  <a:ext cx="128657" cy="19347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192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320" name="Groep 319"/>
              <p:cNvGrpSpPr/>
              <p:nvPr/>
            </p:nvGrpSpPr>
            <p:grpSpPr>
              <a:xfrm>
                <a:off x="12529899" y="6421402"/>
                <a:ext cx="97399" cy="97399"/>
                <a:chOff x="14546483" y="5323041"/>
                <a:chExt cx="242460" cy="242460"/>
              </a:xfrm>
            </p:grpSpPr>
            <p:sp>
              <p:nvSpPr>
                <p:cNvPr id="321" name="Rechthoek 320"/>
                <p:cNvSpPr/>
                <p:nvPr userDrawn="1"/>
              </p:nvSpPr>
              <p:spPr>
                <a:xfrm>
                  <a:off x="14546483" y="5323041"/>
                  <a:ext cx="242460" cy="242460"/>
                </a:xfrm>
                <a:prstGeom prst="rect">
                  <a:avLst/>
                </a:prstGeom>
                <a:solidFill>
                  <a:schemeClr val="bg1"/>
                </a:solidFill>
                <a:ln w="6350">
                  <a:solidFill>
                    <a:srgbClr val="00A4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322" name="Groep 321"/>
                <p:cNvGrpSpPr/>
                <p:nvPr/>
              </p:nvGrpSpPr>
              <p:grpSpPr>
                <a:xfrm>
                  <a:off x="14568035" y="5357818"/>
                  <a:ext cx="199836" cy="175226"/>
                  <a:chOff x="14559757" y="5349611"/>
                  <a:chExt cx="216392" cy="191641"/>
                </a:xfrm>
              </p:grpSpPr>
              <p:sp>
                <p:nvSpPr>
                  <p:cNvPr id="323" name="Parallellogram 322"/>
                  <p:cNvSpPr/>
                  <p:nvPr/>
                </p:nvSpPr>
                <p:spPr>
                  <a:xfrm>
                    <a:off x="14559757" y="5369222"/>
                    <a:ext cx="214316" cy="147762"/>
                  </a:xfrm>
                  <a:prstGeom prst="parallelogram">
                    <a:avLst>
                      <a:gd name="adj" fmla="val 93909"/>
                    </a:avLst>
                  </a:prstGeom>
                  <a:solidFill>
                    <a:srgbClr val="00A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324" name="Parallellogram 323"/>
                  <p:cNvSpPr/>
                  <p:nvPr/>
                </p:nvSpPr>
                <p:spPr>
                  <a:xfrm flipH="1">
                    <a:off x="14561833" y="5349611"/>
                    <a:ext cx="214316" cy="191641"/>
                  </a:xfrm>
                  <a:prstGeom prst="parallelogram">
                    <a:avLst>
                      <a:gd name="adj" fmla="val 68946"/>
                    </a:avLst>
                  </a:prstGeom>
                  <a:solidFill>
                    <a:srgbClr val="00A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</p:grpSp>
        <p:sp>
          <p:nvSpPr>
            <p:cNvPr id="296" name="Rechthoek 29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chemeClr val="bg2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CHART</a:t>
              </a:r>
            </a:p>
          </p:txBody>
        </p:sp>
        <p:sp>
          <p:nvSpPr>
            <p:cNvPr id="297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 chart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8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Select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the </a:t>
              </a:r>
              <a:r>
                <a:rPr lang="en-US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graph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you want to use </a:t>
              </a:r>
              <a:b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</a:t>
              </a:r>
              <a:r>
                <a:rPr lang="en-US" sz="1200" b="1" kern="0" noProof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ert’</a:t>
              </a:r>
              <a:endParaRPr kumimoji="0" lang="nl-NL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9" name="Ovaal 298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300" name="Ovaal 299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301" name="Rechte verbindingslijn 30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302" name="Rechte verbindingslijn 301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303" name="Rechte verbindingslijn 302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sp>
          <p:nvSpPr>
            <p:cNvPr id="304" name="Tekstvak 33"/>
            <p:cNvSpPr txBox="1"/>
            <p:nvPr/>
          </p:nvSpPr>
          <p:spPr>
            <a:xfrm>
              <a:off x="12479311" y="5259838"/>
              <a:ext cx="2588841" cy="447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 the chart, click on the right mouse button and choose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Edit data’</a:t>
              </a:r>
            </a:p>
          </p:txBody>
        </p:sp>
        <p:cxnSp>
          <p:nvCxnSpPr>
            <p:cNvPr id="305" name="Rechte verbindingslijn 304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306" name="Groep 305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310" name="Afgeronde rechthoek 309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1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 dirty="0"/>
                  <a:t>Insert</a:t>
                </a:r>
              </a:p>
            </p:txBody>
          </p:sp>
          <p:cxnSp>
            <p:nvCxnSpPr>
              <p:cNvPr id="312" name="Rechte verbindingslijn 311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3" name="Gelijkbenige driehoek 312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307" name="Rechthoek 306"/>
            <p:cNvSpPr/>
            <p:nvPr/>
          </p:nvSpPr>
          <p:spPr>
            <a:xfrm>
              <a:off x="12483705" y="4856599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DIT CHART</a:t>
              </a:r>
            </a:p>
          </p:txBody>
        </p:sp>
        <p:cxnSp>
          <p:nvCxnSpPr>
            <p:cNvPr id="308" name="Rechte verbindingslijn 307"/>
            <p:cNvCxnSpPr/>
            <p:nvPr/>
          </p:nvCxnSpPr>
          <p:spPr>
            <a:xfrm>
              <a:off x="12487778" y="5145063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pic>
          <p:nvPicPr>
            <p:cNvPr id="309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54186" y="6395104"/>
              <a:ext cx="158644" cy="2564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54" name="Groep 153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155" name="Rechthoek 154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XT LEVELS</a:t>
              </a:r>
            </a:p>
          </p:txBody>
        </p:sp>
        <p:sp>
          <p:nvSpPr>
            <p:cNvPr id="156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3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ird bullets  (24 pt.)</a:t>
              </a:r>
            </a:p>
          </p:txBody>
        </p:sp>
        <p:sp>
          <p:nvSpPr>
            <p:cNvPr id="157" name="Ovaal 156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58" name="Ovaal 157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59" name="Ovaal 158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60" name="Ovaal 159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61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defPPr>
                <a:defRPr lang="nl-NL"/>
              </a:defPPr>
              <a:lvl1pPr indent="0" defTabSz="1087016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/>
              </a:lvl1pPr>
              <a:lvl2pPr marL="228600" lvl="1" indent="-228600" defTabSz="1087016" fontAlgn="auto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+mj-lt"/>
                <a:buAutoNum type="arabicPeriod"/>
                <a:tabLst/>
                <a:defRPr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defRPr>
              </a:lvl2pPr>
              <a:lvl3pPr marL="396875" indent="-160338" defTabSz="1087016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/>
              </a:lvl3pPr>
              <a:lvl4pPr marL="0" indent="0" defTabSz="1087016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/>
              </a:lvl4pPr>
              <a:lvl5pPr marL="0" indent="0" defTabSz="1087016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baseline="0">
                  <a:solidFill>
                    <a:schemeClr val="tx2"/>
                  </a:solidFill>
                </a:defRPr>
              </a:lvl5pPr>
              <a:lvl6pPr marL="0" indent="0" defTabSz="1087016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6pPr>
              <a:lvl7pPr marL="3532800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7pPr>
              <a:lvl8pPr marL="4076308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8pPr>
              <a:lvl9pPr marL="4619815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9pPr>
            </a:lstStyle>
            <a:p>
              <a:pPr lvl="1"/>
              <a:r>
                <a:rPr lang="nl-NL" dirty="0"/>
                <a:t>Numbers bullets  (24 pt.)</a:t>
              </a:r>
            </a:p>
          </p:txBody>
        </p:sp>
        <p:sp>
          <p:nvSpPr>
            <p:cNvPr id="162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3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Second bullets (24 pt.)</a:t>
              </a:r>
            </a:p>
          </p:txBody>
        </p:sp>
        <p:cxnSp>
          <p:nvCxnSpPr>
            <p:cNvPr id="163" name="Rechte verbindingslijn 162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164" name="Rechte verbindingslijn 163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165" name="Rechte verbindingslijn 164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166" name="Groep 165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216" name="Afgeronde rechthoek 215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217" name="Groep 216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218" name="Rechthoek 217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19" name="Rechthoek 218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20" name="Rechthoek 219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21" name="Rechthoek 220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61" name="Rechthoek 360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62" name="Rechthoek 361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63" name="Rechthoek 362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64" name="Rechthoek 363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65" name="Rechthoek 364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66" name="Rechthoek 365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67" name="Vrije vorm 366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167" name="Groep 166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194" name="Rechthoek 193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195" name="Picture 2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96" name="Picture 3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97" name="Groep 196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211" name="Rechthoek 210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12" name="Rechthoek 211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13" name="Rechthoek 212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14" name="Rechthoek 213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15" name="Rechthoek 214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198" name="Groep 197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199" name="Groep 198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206" name="Rechthoek 205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07" name="Rechthoek 206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08" name="Rechthoek 207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09" name="Rechthoek 208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10" name="Rechthoek 209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200" name="Groep 199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201" name="Rechthoek 200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02" name="Rechthoek 201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03" name="Rechthoek 202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04" name="Rechthoek 203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05" name="Rechthoek 204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168" name="Groep 167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181" name="Afgeronde rechthoek 180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182" name="Groep 181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183" name="Rechthoek 182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84" name="Rechthoek 183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85" name="Rechthoek 184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86" name="Rechthoek 185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87" name="Rechthoek 186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88" name="Rechthoek 187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89" name="Rechthoek 188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90" name="Rechthoek 189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91" name="Rechthoek 190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92" name="Rechthoek 191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93" name="Vrije vorm 192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169" name="Rechte verbindingslijn 168"/>
            <p:cNvCxnSpPr>
              <a:endCxn id="181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170" name="Rechte verbindingslijn 169"/>
            <p:cNvCxnSpPr>
              <a:endCxn id="216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171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3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up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72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3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down</a:t>
              </a:r>
            </a:p>
          </p:txBody>
        </p:sp>
        <p:sp>
          <p:nvSpPr>
            <p:cNvPr id="173" name="Ovaal 172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174" name="Groep 173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179" name="Afgeronde rechthoek 178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80" name="Vrije vorm 179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175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3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Standard text (24 pt.) </a:t>
              </a:r>
            </a:p>
          </p:txBody>
        </p:sp>
        <p:sp>
          <p:nvSpPr>
            <p:cNvPr id="176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3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Header 1 (28 pt.)</a:t>
              </a:r>
            </a:p>
          </p:txBody>
        </p:sp>
        <p:sp>
          <p:nvSpPr>
            <p:cNvPr id="177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3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o to the tab Start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ere you will find two buttons as shown below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By means these buttons you can easily switch between text levels.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cxnSp>
          <p:nvCxnSpPr>
            <p:cNvPr id="178" name="Rechte verbindingslijn 177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28484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8641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4797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 hidden="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2653" y="0"/>
            <a:ext cx="9098694" cy="68580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© Copyright SIDN | 2016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5238750" y="-520700"/>
            <a:ext cx="390525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sz="1350" baseline="0"/>
              <a:t>Titeldia</a:t>
            </a:r>
            <a:endParaRPr lang="nl-NL" sz="1350"/>
          </a:p>
        </p:txBody>
      </p:sp>
      <p:sp>
        <p:nvSpPr>
          <p:cNvPr id="270" name="Rechthoek 269"/>
          <p:cNvSpPr/>
          <p:nvPr userDrawn="1"/>
        </p:nvSpPr>
        <p:spPr>
          <a:xfrm>
            <a:off x="-2380" y="1"/>
            <a:ext cx="9148762" cy="2253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30" name="Titel 1"/>
          <p:cNvSpPr>
            <a:spLocks noGrp="1"/>
          </p:cNvSpPr>
          <p:nvPr>
            <p:ph type="title" hasCustomPrompt="1"/>
          </p:nvPr>
        </p:nvSpPr>
        <p:spPr>
          <a:xfrm>
            <a:off x="3607594" y="2034552"/>
            <a:ext cx="5192212" cy="1548650"/>
          </a:xfrm>
        </p:spPr>
        <p:txBody>
          <a:bodyPr anchor="b"/>
          <a:lstStyle>
            <a:lvl1pPr>
              <a:defRPr sz="2700">
                <a:solidFill>
                  <a:schemeClr val="bg2"/>
                </a:solidFill>
              </a:defRPr>
            </a:lvl1pPr>
          </a:lstStyle>
          <a:p>
            <a:r>
              <a:rPr lang="nl-NL" noProof="0" dirty="0"/>
              <a:t>Titel van deze presentatie</a:t>
            </a:r>
          </a:p>
        </p:txBody>
      </p:sp>
      <p:sp>
        <p:nvSpPr>
          <p:cNvPr id="131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607594" y="3570263"/>
            <a:ext cx="5192100" cy="601738"/>
          </a:xfrm>
        </p:spPr>
        <p:txBody>
          <a:bodyPr vert="horz"/>
          <a:lstStyle>
            <a:lvl1pPr>
              <a:defRPr>
                <a:solidFill>
                  <a:srgbClr val="62646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l-NL" noProof="0" dirty="0"/>
              <a:t>Spreker | Plaats</a:t>
            </a:r>
          </a:p>
        </p:txBody>
      </p:sp>
      <p:sp>
        <p:nvSpPr>
          <p:cNvPr id="9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3537836" y="443877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626465"/>
                </a:solidFill>
              </a:defRPr>
            </a:lvl1pPr>
          </a:lstStyle>
          <a:p>
            <a:fld id="{1A6F88E9-D7DE-4D78-82D4-5094D6306580}" type="datetime4">
              <a:rPr lang="nl-NL" smtClean="0"/>
              <a:t>September 24, 20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3857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+ teks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44196" y="1092201"/>
            <a:ext cx="8455610" cy="4680000"/>
          </a:xfrm>
        </p:spPr>
        <p:txBody>
          <a:bodyPr vert="horz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© Copyright SIDN | 2016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2439156" y="19956"/>
            <a:ext cx="1942467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6858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2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200" b="1" i="0" u="none" strike="noStrike" kern="0" cap="none" spc="0" normalizeH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200" b="1" i="0" u="none" strike="noStrike" kern="0" cap="none" spc="0" normalizeH="0" baseline="0" noProof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33375" marR="0" lvl="0" indent="-132160" algn="l" defTabSz="815262" rtl="0" eaLnBrk="1" fontAlgn="auto" latinLnBrk="0" hangingPunct="1">
                <a:lnSpc>
                  <a:spcPts val="135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9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788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788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788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788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33350" lvl="1" indent="-13335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9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9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9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66700" lvl="1" indent="-133350" algn="l" defTabSz="815262" rtl="0" eaLnBrk="1" fontAlgn="auto" latinLnBrk="0" hangingPunct="1">
                <a:lnSpc>
                  <a:spcPts val="135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9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35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35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35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35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35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35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35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35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35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35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35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35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35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15262" rtl="0" eaLnBrk="1" fontAlgn="auto" latinLnBrk="0" hangingPunct="1">
                <a:lnSpc>
                  <a:spcPts val="135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9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9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15262" rtl="0" eaLnBrk="1" fontAlgn="auto" latinLnBrk="0" hangingPunct="1">
                <a:lnSpc>
                  <a:spcPts val="135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9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788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675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15262" rtl="0" eaLnBrk="1" fontAlgn="auto" latinLnBrk="0" hangingPunct="1">
                <a:lnSpc>
                  <a:spcPts val="135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05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15262" rtl="0" eaLnBrk="1" fontAlgn="auto" latinLnBrk="0" hangingPunct="1">
                <a:lnSpc>
                  <a:spcPts val="135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05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81526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9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81526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9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81526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9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3895725" y="-520700"/>
            <a:ext cx="524827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sz="1350"/>
              <a:t>Titel + tekst (100%)</a:t>
            </a:r>
          </a:p>
        </p:txBody>
      </p:sp>
    </p:spTree>
    <p:extLst>
      <p:ext uri="{BB962C8B-B14F-4D97-AF65-F5344CB8AC3E}">
        <p14:creationId xmlns:p14="http://schemas.microsoft.com/office/powerpoint/2010/main" val="3538687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enter title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44197" y="1092201"/>
            <a:ext cx="8455610" cy="4680000"/>
          </a:xfrm>
        </p:spPr>
        <p:txBody>
          <a:bodyPr vert="horz"/>
          <a:lstStyle/>
          <a:p>
            <a:pPr lvl="0"/>
            <a:r>
              <a:rPr lang="en-GB" noProof="0" dirty="0"/>
              <a:t>This is header 1</a:t>
            </a:r>
          </a:p>
          <a:p>
            <a:pPr lvl="1"/>
            <a:r>
              <a:rPr lang="en-GB" noProof="0" dirty="0"/>
              <a:t>This is standard text</a:t>
            </a:r>
          </a:p>
          <a:p>
            <a:pPr lvl="2"/>
            <a:r>
              <a:rPr lang="en-GB" noProof="0" dirty="0"/>
              <a:t>First bullet level</a:t>
            </a:r>
          </a:p>
          <a:p>
            <a:pPr lvl="3"/>
            <a:r>
              <a:rPr lang="en-GB" noProof="0" dirty="0"/>
              <a:t>Second bullet level</a:t>
            </a:r>
          </a:p>
          <a:p>
            <a:pPr lvl="4"/>
            <a:r>
              <a:rPr lang="en-GB" noProof="0" dirty="0"/>
              <a:t>Third bullet level</a:t>
            </a:r>
          </a:p>
          <a:p>
            <a:pPr lvl="0"/>
            <a:r>
              <a:rPr lang="en-GB" noProof="0" dirty="0"/>
              <a:t>This is header 1</a:t>
            </a:r>
          </a:p>
          <a:p>
            <a:pPr lvl="1"/>
            <a:r>
              <a:rPr lang="en-GB" noProof="0" dirty="0"/>
              <a:t>This is standard text</a:t>
            </a:r>
          </a:p>
          <a:p>
            <a:pPr lvl="2"/>
            <a:r>
              <a:rPr lang="en-GB" noProof="0" dirty="0"/>
              <a:t>First bullet level</a:t>
            </a:r>
          </a:p>
          <a:p>
            <a:pPr lvl="3"/>
            <a:r>
              <a:rPr lang="en-GB" noProof="0" dirty="0"/>
              <a:t>Second bullet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 dirty="0"/>
              <a:t>© Copyright SIDN | 2016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3895727" y="-520700"/>
            <a:ext cx="52482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sz="1800" dirty="0"/>
              <a:t>Title + Text (100%)</a:t>
            </a:r>
          </a:p>
        </p:txBody>
      </p:sp>
      <p:grpSp>
        <p:nvGrpSpPr>
          <p:cNvPr id="81" name="Groep 80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82" name="Rechthoek 81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XT LEVELS</a:t>
              </a:r>
            </a:p>
          </p:txBody>
        </p:sp>
        <p:sp>
          <p:nvSpPr>
            <p:cNvPr id="159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ird bullets  (24 pt.)</a:t>
              </a:r>
            </a:p>
          </p:txBody>
        </p:sp>
        <p:sp>
          <p:nvSpPr>
            <p:cNvPr id="160" name="Ovaal 159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61" name="Ovaal 160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62" name="Ovaal 161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63" name="Ovaal 162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64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defPPr>
                <a:defRPr lang="nl-NL"/>
              </a:defPPr>
              <a:lvl1pPr indent="0" defTabSz="1087016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/>
              </a:lvl1pPr>
              <a:lvl2pPr marL="228600" lvl="1" indent="-228600" defTabSz="1087016" fontAlgn="auto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+mj-lt"/>
                <a:buAutoNum type="arabicPeriod"/>
                <a:tabLst/>
                <a:defRPr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defRPr>
              </a:lvl2pPr>
              <a:lvl3pPr marL="396875" indent="-160338" defTabSz="1087016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/>
              </a:lvl3pPr>
              <a:lvl4pPr marL="0" indent="0" defTabSz="1087016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/>
              </a:lvl4pPr>
              <a:lvl5pPr marL="0" indent="0" defTabSz="1087016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baseline="0">
                  <a:solidFill>
                    <a:schemeClr val="tx2"/>
                  </a:solidFill>
                </a:defRPr>
              </a:lvl5pPr>
              <a:lvl6pPr marL="0" indent="0" defTabSz="1087016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6pPr>
              <a:lvl7pPr marL="3532800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7pPr>
              <a:lvl8pPr marL="4076308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8pPr>
              <a:lvl9pPr marL="4619815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9pPr>
            </a:lstStyle>
            <a:p>
              <a:pPr lvl="1"/>
              <a:r>
                <a:rPr lang="nl-NL" dirty="0"/>
                <a:t>Numbers bullets  (24 pt.)</a:t>
              </a:r>
            </a:p>
          </p:txBody>
        </p:sp>
        <p:sp>
          <p:nvSpPr>
            <p:cNvPr id="165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Second bullets (24 pt.)</a:t>
              </a:r>
            </a:p>
          </p:txBody>
        </p:sp>
        <p:cxnSp>
          <p:nvCxnSpPr>
            <p:cNvPr id="166" name="Rechte verbindingslijn 165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167" name="Rechte verbindingslijn 166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168" name="Rechte verbindingslijn 167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169" name="Groep 168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219" name="Afgeronde rechthoek 218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220" name="Groep 219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221" name="Rechthoek 220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22" name="Rechthoek 221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23" name="Rechthoek 222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24" name="Rechthoek 223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25" name="Rechthoek 224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26" name="Rechthoek 225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27" name="Rechthoek 226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28" name="Rechthoek 227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29" name="Rechthoek 228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30" name="Rechthoek 229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31" name="Vrije vorm 230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170" name="Groep 169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197" name="Rechthoek 196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198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99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200" name="Groep 199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214" name="Rechthoek 213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15" name="Rechthoek 214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16" name="Rechthoek 215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17" name="Rechthoek 216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18" name="Rechthoek 217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201" name="Groep 200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202" name="Groep 201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209" name="Rechthoek 208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10" name="Rechthoek 209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11" name="Rechthoek 210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12" name="Rechthoek 211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13" name="Rechthoek 212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203" name="Groep 202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204" name="Rechthoek 203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05" name="Rechthoek 204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06" name="Rechthoek 205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07" name="Rechthoek 206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08" name="Rechthoek 207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171" name="Groep 170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184" name="Afgeronde rechthoek 183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185" name="Groep 184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186" name="Rechthoek 185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87" name="Rechthoek 186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88" name="Rechthoek 187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89" name="Rechthoek 188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90" name="Rechthoek 189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91" name="Rechthoek 190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92" name="Rechthoek 191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93" name="Rechthoek 192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94" name="Rechthoek 193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95" name="Rechthoek 194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96" name="Vrije vorm 195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172" name="Rechte verbindingslijn 171"/>
            <p:cNvCxnSpPr>
              <a:endCxn id="184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173" name="Rechte verbindingslijn 172"/>
            <p:cNvCxnSpPr>
              <a:endCxn id="219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174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up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75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down</a:t>
              </a:r>
            </a:p>
          </p:txBody>
        </p:sp>
        <p:sp>
          <p:nvSpPr>
            <p:cNvPr id="176" name="Ovaal 175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177" name="Groep 176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182" name="Afgeronde rechthoek 181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83" name="Vrije vorm 182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178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Standard text (24 pt.) </a:t>
              </a:r>
            </a:p>
          </p:txBody>
        </p:sp>
        <p:sp>
          <p:nvSpPr>
            <p:cNvPr id="179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Header 1 (28 pt.)</a:t>
              </a:r>
            </a:p>
          </p:txBody>
        </p:sp>
        <p:sp>
          <p:nvSpPr>
            <p:cNvPr id="180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o to the tab Start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ere you will find two buttons as shown below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By means these buttons you can easily switch between text levels.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cxnSp>
          <p:nvCxnSpPr>
            <p:cNvPr id="181" name="Rechte verbindingslijn 180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553718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75%/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enter title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44203" y="1092201"/>
            <a:ext cx="5806583" cy="4680000"/>
          </a:xfrm>
        </p:spPr>
        <p:txBody>
          <a:bodyPr vert="horz"/>
          <a:lstStyle/>
          <a:p>
            <a:pPr lvl="0"/>
            <a:r>
              <a:rPr lang="en-GB" noProof="0" dirty="0"/>
              <a:t>This is header 1</a:t>
            </a:r>
          </a:p>
          <a:p>
            <a:pPr lvl="1"/>
            <a:r>
              <a:rPr lang="en-GB" noProof="0" dirty="0"/>
              <a:t>This is standard text</a:t>
            </a:r>
          </a:p>
          <a:p>
            <a:pPr lvl="2"/>
            <a:r>
              <a:rPr lang="en-GB" noProof="0" dirty="0"/>
              <a:t>First bullet level</a:t>
            </a:r>
          </a:p>
          <a:p>
            <a:pPr lvl="3"/>
            <a:r>
              <a:rPr lang="en-GB" noProof="0" dirty="0"/>
              <a:t>Second bullet level</a:t>
            </a:r>
          </a:p>
          <a:p>
            <a:pPr lvl="4"/>
            <a:r>
              <a:rPr lang="en-GB" noProof="0" dirty="0"/>
              <a:t>Third bullet level</a:t>
            </a:r>
          </a:p>
          <a:p>
            <a:pPr lvl="0"/>
            <a:r>
              <a:rPr lang="en-GB" noProof="0" dirty="0"/>
              <a:t>This is header 1</a:t>
            </a:r>
          </a:p>
          <a:p>
            <a:pPr lvl="1"/>
            <a:r>
              <a:rPr lang="en-GB" noProof="0" dirty="0"/>
              <a:t>This is standard text</a:t>
            </a:r>
          </a:p>
          <a:p>
            <a:pPr lvl="2"/>
            <a:r>
              <a:rPr lang="en-GB" noProof="0" dirty="0"/>
              <a:t>First bullet level</a:t>
            </a:r>
          </a:p>
          <a:p>
            <a:pPr lvl="3"/>
            <a:r>
              <a:rPr lang="en-GB" noProof="0" dirty="0"/>
              <a:t>Second bullet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 dirty="0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 hasCustomPrompt="1"/>
          </p:nvPr>
        </p:nvSpPr>
        <p:spPr>
          <a:xfrm>
            <a:off x="6438901" y="1092201"/>
            <a:ext cx="2360906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en-GB" dirty="0"/>
              <a:t>Photo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5238750" y="-520700"/>
            <a:ext cx="3905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sz="1800" dirty="0"/>
              <a:t>Text +</a:t>
            </a:r>
            <a:r>
              <a:rPr lang="nl-NL" sz="1800" baseline="0" dirty="0"/>
              <a:t> Photo (75%/25%)</a:t>
            </a:r>
            <a:endParaRPr lang="nl-NL" sz="1800" dirty="0"/>
          </a:p>
        </p:txBody>
      </p:sp>
      <p:grpSp>
        <p:nvGrpSpPr>
          <p:cNvPr id="209" name="Instruction Image Cropping"/>
          <p:cNvGrpSpPr/>
          <p:nvPr userDrawn="1"/>
        </p:nvGrpSpPr>
        <p:grpSpPr>
          <a:xfrm>
            <a:off x="9832607" y="21754"/>
            <a:ext cx="2733484" cy="6868888"/>
            <a:chOff x="12346582" y="-5444"/>
            <a:chExt cx="2733484" cy="6868888"/>
          </a:xfrm>
        </p:grpSpPr>
        <p:grpSp>
          <p:nvGrpSpPr>
            <p:cNvPr id="210" name="bijsnijden"/>
            <p:cNvGrpSpPr/>
            <p:nvPr userDrawn="1"/>
          </p:nvGrpSpPr>
          <p:grpSpPr>
            <a:xfrm>
              <a:off x="12346582" y="5717305"/>
              <a:ext cx="779464" cy="828260"/>
              <a:chOff x="13143038" y="5655940"/>
              <a:chExt cx="779464" cy="828260"/>
            </a:xfrm>
          </p:grpSpPr>
          <p:grpSp>
            <p:nvGrpSpPr>
              <p:cNvPr id="228" name="Groep 227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231" name="Rechthoek 230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232" name="Afbeelding 231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233" name="L-vorm 232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234" name="L-vorm 233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229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230" name="Rechthoekige driehoek 229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dirty="0" err="1">
                  <a:solidFill>
                    <a:schemeClr val="accent4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11" name="Rechthoek 210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chemeClr val="bg2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12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n image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13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Select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the image you want to use </a:t>
              </a:r>
              <a:b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</a:t>
              </a:r>
              <a:r>
                <a:rPr lang="en-US" sz="1200" b="1" kern="0" noProof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ert’</a:t>
              </a:r>
              <a:endParaRPr kumimoji="0" lang="nl-NL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14" name="Ovaal 213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15" name="Ovaal 214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16" name="Rechte verbindingslijn 215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217" name="Rechte verbindingslijn 216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218" name="Rechte verbindingslijn 217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pic>
          <p:nvPicPr>
            <p:cNvPr id="219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490583"/>
              <a:ext cx="521075" cy="521075"/>
            </a:xfrm>
            <a:prstGeom prst="rect">
              <a:avLst/>
            </a:prstGeom>
          </p:spPr>
        </p:pic>
        <p:sp>
          <p:nvSpPr>
            <p:cNvPr id="220" name="Tekstvak 33"/>
            <p:cNvSpPr txBox="1"/>
            <p:nvPr/>
          </p:nvSpPr>
          <p:spPr>
            <a:xfrm>
              <a:off x="12479311" y="5017802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Picture Tools’ </a:t>
              </a:r>
              <a:r>
                <a:rPr lang="en-US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Crop’</a:t>
              </a:r>
              <a:endParaRPr lang="nl-NL" sz="1200" b="1" kern="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21" name="Ovaal 220"/>
            <p:cNvSpPr/>
            <p:nvPr/>
          </p:nvSpPr>
          <p:spPr>
            <a:xfrm>
              <a:off x="12488779" y="4532940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222" name="Rechte verbindingslijn 221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223" name="Groep 222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224" name="Afgeronde rechthoek 223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5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 dirty="0"/>
                  <a:t>Insert</a:t>
                </a:r>
              </a:p>
            </p:txBody>
          </p:sp>
          <p:cxnSp>
            <p:nvCxnSpPr>
              <p:cNvPr id="226" name="Rechte verbindingslijn 225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7" name="Gelijkbenige driehoek 226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10" name="Groep 109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111" name="Rechthoek 110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XT LEVELS</a:t>
              </a:r>
            </a:p>
          </p:txBody>
        </p:sp>
        <p:sp>
          <p:nvSpPr>
            <p:cNvPr id="112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ird bullets  (24 pt.)</a:t>
              </a:r>
            </a:p>
          </p:txBody>
        </p:sp>
        <p:sp>
          <p:nvSpPr>
            <p:cNvPr id="113" name="Ovaal 112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14" name="Ovaal 113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15" name="Ovaal 114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16" name="Ovaal 115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17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defPPr>
                <a:defRPr lang="nl-NL"/>
              </a:defPPr>
              <a:lvl1pPr indent="0" defTabSz="1087016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/>
              </a:lvl1pPr>
              <a:lvl2pPr marL="228600" lvl="1" indent="-228600" defTabSz="1087016" fontAlgn="auto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+mj-lt"/>
                <a:buAutoNum type="arabicPeriod"/>
                <a:tabLst/>
                <a:defRPr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defRPr>
              </a:lvl2pPr>
              <a:lvl3pPr marL="396875" indent="-160338" defTabSz="1087016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/>
              </a:lvl3pPr>
              <a:lvl4pPr marL="0" indent="0" defTabSz="1087016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/>
              </a:lvl4pPr>
              <a:lvl5pPr marL="0" indent="0" defTabSz="1087016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baseline="0">
                  <a:solidFill>
                    <a:schemeClr val="tx2"/>
                  </a:solidFill>
                </a:defRPr>
              </a:lvl5pPr>
              <a:lvl6pPr marL="0" indent="0" defTabSz="1087016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6pPr>
              <a:lvl7pPr marL="3532800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7pPr>
              <a:lvl8pPr marL="4076308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8pPr>
              <a:lvl9pPr marL="4619815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9pPr>
            </a:lstStyle>
            <a:p>
              <a:pPr lvl="1"/>
              <a:r>
                <a:rPr lang="nl-NL" dirty="0"/>
                <a:t>Numbers bullets  (24 pt.)</a:t>
              </a:r>
            </a:p>
          </p:txBody>
        </p:sp>
        <p:sp>
          <p:nvSpPr>
            <p:cNvPr id="118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Second bullets (24 pt.)</a:t>
              </a:r>
            </a:p>
          </p:txBody>
        </p:sp>
        <p:cxnSp>
          <p:nvCxnSpPr>
            <p:cNvPr id="119" name="Rechte verbindingslijn 118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120" name="Rechte verbindingslijn 119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121" name="Rechte verbindingslijn 120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122" name="Groep 121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271" name="Afgeronde rechthoek 270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272" name="Groep 271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273" name="Rechthoek 272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4" name="Rechthoek 273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5" name="Rechthoek 274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6" name="Rechthoek 275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7" name="Rechthoek 276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8" name="Rechthoek 277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9" name="Rechthoek 278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0" name="Rechthoek 279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1" name="Rechthoek 280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2" name="Rechthoek 281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3" name="Vrije vorm 282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123" name="Groep 122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249" name="Rechthoek 248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250" name="Picture 2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51" name="Picture 3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252" name="Groep 251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266" name="Rechthoek 265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7" name="Rechthoek 266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8" name="Rechthoek 267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9" name="Rechthoek 268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0" name="Rechthoek 269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253" name="Groep 252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254" name="Groep 253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261" name="Rechthoek 260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2" name="Rechthoek 261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3" name="Rechthoek 262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4" name="Rechthoek 263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5" name="Rechthoek 264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255" name="Groep 254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256" name="Rechthoek 255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7" name="Rechthoek 256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8" name="Rechthoek 257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9" name="Rechthoek 258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0" name="Rechthoek 259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124" name="Groep 123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236" name="Afgeronde rechthoek 235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237" name="Groep 236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238" name="Rechthoek 237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39" name="Rechthoek 238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0" name="Rechthoek 239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1" name="Rechthoek 240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2" name="Rechthoek 241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3" name="Rechthoek 242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4" name="Rechthoek 243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5" name="Rechthoek 244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6" name="Rechthoek 245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7" name="Rechthoek 246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8" name="Vrije vorm 247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125" name="Rechte verbindingslijn 124"/>
            <p:cNvCxnSpPr>
              <a:endCxn id="236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126" name="Rechte verbindingslijn 125"/>
            <p:cNvCxnSpPr>
              <a:endCxn id="271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127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up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28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down</a:t>
              </a:r>
            </a:p>
          </p:txBody>
        </p:sp>
        <p:sp>
          <p:nvSpPr>
            <p:cNvPr id="129" name="Ovaal 128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130" name="Groep 129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135" name="Afgeronde rechthoek 134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235" name="Vrije vorm 234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131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Standard text (24 pt.) </a:t>
              </a:r>
            </a:p>
          </p:txBody>
        </p:sp>
        <p:sp>
          <p:nvSpPr>
            <p:cNvPr id="132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Header 1 (28 pt.)</a:t>
              </a:r>
            </a:p>
          </p:txBody>
        </p:sp>
        <p:sp>
          <p:nvSpPr>
            <p:cNvPr id="133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o to the tab Start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ere you will find two buttons as shown below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By means these buttons you can easily switch between text levels.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cxnSp>
          <p:nvCxnSpPr>
            <p:cNvPr id="134" name="Rechte verbindingslijn 133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995323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enter title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44197" y="1092201"/>
            <a:ext cx="3951578" cy="4680000"/>
          </a:xfrm>
        </p:spPr>
        <p:txBody>
          <a:bodyPr vert="horz"/>
          <a:lstStyle/>
          <a:p>
            <a:pPr lvl="0"/>
            <a:r>
              <a:rPr lang="en-GB" noProof="0" dirty="0"/>
              <a:t>This is header 1</a:t>
            </a:r>
          </a:p>
          <a:p>
            <a:pPr lvl="1"/>
            <a:r>
              <a:rPr lang="en-GB" noProof="0" dirty="0"/>
              <a:t>This is standard text</a:t>
            </a:r>
          </a:p>
          <a:p>
            <a:pPr lvl="2"/>
            <a:r>
              <a:rPr lang="en-GB" noProof="0" dirty="0"/>
              <a:t>First bullet level</a:t>
            </a:r>
          </a:p>
          <a:p>
            <a:pPr lvl="3"/>
            <a:r>
              <a:rPr lang="en-GB" noProof="0" dirty="0"/>
              <a:t>Second bullet level</a:t>
            </a:r>
          </a:p>
          <a:p>
            <a:pPr lvl="4"/>
            <a:r>
              <a:rPr lang="en-GB" noProof="0" dirty="0"/>
              <a:t>Third bullet level</a:t>
            </a:r>
          </a:p>
          <a:p>
            <a:pPr lvl="0"/>
            <a:r>
              <a:rPr lang="en-GB" noProof="0" dirty="0"/>
              <a:t>This is header 1</a:t>
            </a:r>
          </a:p>
          <a:p>
            <a:pPr lvl="1"/>
            <a:r>
              <a:rPr lang="en-GB" noProof="0" dirty="0"/>
              <a:t>This is standard text</a:t>
            </a:r>
          </a:p>
          <a:p>
            <a:pPr lvl="2"/>
            <a:r>
              <a:rPr lang="en-GB" noProof="0" dirty="0"/>
              <a:t>First bullet level</a:t>
            </a:r>
          </a:p>
          <a:p>
            <a:pPr lvl="3"/>
            <a:r>
              <a:rPr lang="en-GB" noProof="0" dirty="0"/>
              <a:t>Second bullet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 hasCustomPrompt="1"/>
          </p:nvPr>
        </p:nvSpPr>
        <p:spPr>
          <a:xfrm>
            <a:off x="4562481" y="1092201"/>
            <a:ext cx="4237331" cy="4680000"/>
          </a:xfrm>
        </p:spPr>
        <p:txBody>
          <a:bodyPr anchor="ctr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en-GB" dirty="0"/>
              <a:t>Photo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5238750" y="-520700"/>
            <a:ext cx="3905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sz="1800" dirty="0"/>
              <a:t>Text +</a:t>
            </a:r>
            <a:r>
              <a:rPr lang="nl-NL" sz="1800" baseline="0" dirty="0"/>
              <a:t> Photo (50%/50%)</a:t>
            </a:r>
            <a:endParaRPr lang="nl-NL" sz="1800" dirty="0"/>
          </a:p>
        </p:txBody>
      </p:sp>
      <p:grpSp>
        <p:nvGrpSpPr>
          <p:cNvPr id="136" name="Groep 135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137" name="Rechthoek 136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XT LEVELS</a:t>
              </a:r>
            </a:p>
          </p:txBody>
        </p:sp>
        <p:sp>
          <p:nvSpPr>
            <p:cNvPr id="138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ird bullets  (24 pt.)</a:t>
              </a:r>
            </a:p>
          </p:txBody>
        </p:sp>
        <p:sp>
          <p:nvSpPr>
            <p:cNvPr id="139" name="Ovaal 138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40" name="Ovaal 139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41" name="Ovaal 140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2" name="Ovaal 141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43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defPPr>
                <a:defRPr lang="nl-NL"/>
              </a:defPPr>
              <a:lvl1pPr indent="0" defTabSz="1087016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/>
              </a:lvl1pPr>
              <a:lvl2pPr marL="228600" lvl="1" indent="-228600" defTabSz="1087016" fontAlgn="auto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+mj-lt"/>
                <a:buAutoNum type="arabicPeriod"/>
                <a:tabLst/>
                <a:defRPr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defRPr>
              </a:lvl2pPr>
              <a:lvl3pPr marL="396875" indent="-160338" defTabSz="1087016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/>
              </a:lvl3pPr>
              <a:lvl4pPr marL="0" indent="0" defTabSz="1087016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/>
              </a:lvl4pPr>
              <a:lvl5pPr marL="0" indent="0" defTabSz="1087016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baseline="0">
                  <a:solidFill>
                    <a:schemeClr val="tx2"/>
                  </a:solidFill>
                </a:defRPr>
              </a:lvl5pPr>
              <a:lvl6pPr marL="0" indent="0" defTabSz="1087016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6pPr>
              <a:lvl7pPr marL="3532800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7pPr>
              <a:lvl8pPr marL="4076308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8pPr>
              <a:lvl9pPr marL="4619815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9pPr>
            </a:lstStyle>
            <a:p>
              <a:pPr lvl="1"/>
              <a:r>
                <a:rPr lang="nl-NL" dirty="0"/>
                <a:t>Numbers bullets  (24 pt.)</a:t>
              </a:r>
            </a:p>
          </p:txBody>
        </p:sp>
        <p:sp>
          <p:nvSpPr>
            <p:cNvPr id="144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Second bullets (24 pt.)</a:t>
              </a:r>
            </a:p>
          </p:txBody>
        </p:sp>
        <p:cxnSp>
          <p:nvCxnSpPr>
            <p:cNvPr id="145" name="Rechte verbindingslijn 144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146" name="Rechte verbindingslijn 145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147" name="Rechte verbindingslijn 146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148" name="Groep 147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271" name="Afgeronde rechthoek 270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272" name="Groep 271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273" name="Rechthoek 272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4" name="Rechthoek 273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5" name="Rechthoek 274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6" name="Rechthoek 275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7" name="Rechthoek 276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8" name="Rechthoek 277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9" name="Rechthoek 278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0" name="Rechthoek 279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1" name="Rechthoek 280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2" name="Rechthoek 281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3" name="Vrije vorm 282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149" name="Groep 148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249" name="Rechthoek 248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250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51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252" name="Groep 251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266" name="Rechthoek 265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7" name="Rechthoek 266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8" name="Rechthoek 267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9" name="Rechthoek 268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0" name="Rechthoek 269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253" name="Groep 252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254" name="Groep 253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261" name="Rechthoek 260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2" name="Rechthoek 261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3" name="Rechthoek 262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4" name="Rechthoek 263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5" name="Rechthoek 264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255" name="Groep 254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256" name="Rechthoek 255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7" name="Rechthoek 256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8" name="Rechthoek 257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9" name="Rechthoek 258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0" name="Rechthoek 259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150" name="Groep 149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236" name="Afgeronde rechthoek 235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237" name="Groep 236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238" name="Rechthoek 237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39" name="Rechthoek 238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0" name="Rechthoek 239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1" name="Rechthoek 240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2" name="Rechthoek 241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3" name="Rechthoek 242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4" name="Rechthoek 243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5" name="Rechthoek 244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6" name="Rechthoek 245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7" name="Rechthoek 246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8" name="Vrije vorm 247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151" name="Rechte verbindingslijn 150"/>
            <p:cNvCxnSpPr>
              <a:endCxn id="236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152" name="Rechte verbindingslijn 151"/>
            <p:cNvCxnSpPr>
              <a:endCxn id="271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153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up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54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down</a:t>
              </a:r>
            </a:p>
          </p:txBody>
        </p:sp>
        <p:sp>
          <p:nvSpPr>
            <p:cNvPr id="155" name="Ovaal 154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156" name="Groep 155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161" name="Afgeronde rechthoek 160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235" name="Vrije vorm 234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157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Standard text (24 pt.) </a:t>
              </a:r>
            </a:p>
          </p:txBody>
        </p:sp>
        <p:sp>
          <p:nvSpPr>
            <p:cNvPr id="158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Header 1 (28 pt.)</a:t>
              </a:r>
            </a:p>
          </p:txBody>
        </p:sp>
        <p:sp>
          <p:nvSpPr>
            <p:cNvPr id="159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o to the tab Start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ere you will find two buttons as shown below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By means these buttons you can easily switch between text levels.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cxnSp>
          <p:nvCxnSpPr>
            <p:cNvPr id="160" name="Rechte verbindingslijn 159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</p:grpSp>
      <p:grpSp>
        <p:nvGrpSpPr>
          <p:cNvPr id="284" name="Instruction Image Cropping"/>
          <p:cNvGrpSpPr/>
          <p:nvPr userDrawn="1"/>
        </p:nvGrpSpPr>
        <p:grpSpPr>
          <a:xfrm>
            <a:off x="9832607" y="21754"/>
            <a:ext cx="2733484" cy="6868888"/>
            <a:chOff x="12346582" y="-5444"/>
            <a:chExt cx="2733484" cy="6868888"/>
          </a:xfrm>
        </p:grpSpPr>
        <p:grpSp>
          <p:nvGrpSpPr>
            <p:cNvPr id="285" name="bijsnijden"/>
            <p:cNvGrpSpPr/>
            <p:nvPr userDrawn="1"/>
          </p:nvGrpSpPr>
          <p:grpSpPr>
            <a:xfrm>
              <a:off x="12346582" y="5717305"/>
              <a:ext cx="779464" cy="828260"/>
              <a:chOff x="13143038" y="5655940"/>
              <a:chExt cx="779464" cy="828260"/>
            </a:xfrm>
          </p:grpSpPr>
          <p:grpSp>
            <p:nvGrpSpPr>
              <p:cNvPr id="303" name="Groep 3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306" name="Rechthoek 3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307" name="Afbeelding 3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308" name="L-vorm 3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09" name="L-vorm 3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3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305" name="Rechthoekige driehoek 3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dirty="0" err="1">
                  <a:solidFill>
                    <a:schemeClr val="accent4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86" name="Rechthoek 2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chemeClr val="bg2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87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n image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88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Select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the image you want to use </a:t>
              </a:r>
              <a:b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</a:t>
              </a:r>
              <a:r>
                <a:rPr lang="en-US" sz="1200" b="1" kern="0" noProof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ert’</a:t>
              </a:r>
              <a:endParaRPr kumimoji="0" lang="nl-NL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89" name="Ovaal 288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90" name="Ovaal 289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91" name="Rechte verbindingslijn 2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292" name="Rechte verbindingslijn 291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293" name="Rechte verbindingslijn 292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pic>
          <p:nvPicPr>
            <p:cNvPr id="2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490583"/>
              <a:ext cx="521075" cy="521075"/>
            </a:xfrm>
            <a:prstGeom prst="rect">
              <a:avLst/>
            </a:prstGeom>
          </p:spPr>
        </p:pic>
        <p:sp>
          <p:nvSpPr>
            <p:cNvPr id="295" name="Tekstvak 33"/>
            <p:cNvSpPr txBox="1"/>
            <p:nvPr/>
          </p:nvSpPr>
          <p:spPr>
            <a:xfrm>
              <a:off x="12479311" y="5017802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Picture Tools’ </a:t>
              </a:r>
              <a:r>
                <a:rPr lang="en-US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Crop’</a:t>
              </a:r>
              <a:endParaRPr lang="nl-NL" sz="1200" b="1" kern="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6" name="Ovaal 295"/>
            <p:cNvSpPr/>
            <p:nvPr/>
          </p:nvSpPr>
          <p:spPr>
            <a:xfrm>
              <a:off x="12488779" y="4532940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297" name="Rechte verbindingslijn 2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298" name="Groep 297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299" name="Afgeronde rechthoek 2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 dirty="0"/>
                  <a:t>Insert</a:t>
                </a:r>
              </a:p>
            </p:txBody>
          </p:sp>
          <p:cxnSp>
            <p:nvCxnSpPr>
              <p:cNvPr id="301" name="Rechte verbindingslijn 3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2" name="Gelijkbenige driehoek 3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93568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25%/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enter title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344197" y="1092201"/>
            <a:ext cx="2186030" cy="4680000"/>
          </a:xfrm>
        </p:spPr>
        <p:txBody>
          <a:bodyPr vert="horz"/>
          <a:lstStyle/>
          <a:p>
            <a:pPr lvl="0"/>
            <a:r>
              <a:rPr lang="en-GB" noProof="0" dirty="0"/>
              <a:t>This is header 1</a:t>
            </a:r>
          </a:p>
          <a:p>
            <a:pPr lvl="1"/>
            <a:r>
              <a:rPr lang="en-GB" noProof="0" dirty="0"/>
              <a:t>This is standard text</a:t>
            </a:r>
          </a:p>
          <a:p>
            <a:pPr lvl="2"/>
            <a:r>
              <a:rPr lang="en-GB" noProof="0" dirty="0"/>
              <a:t>First bullet level</a:t>
            </a:r>
          </a:p>
          <a:p>
            <a:pPr lvl="3"/>
            <a:r>
              <a:rPr lang="en-GB" noProof="0" dirty="0"/>
              <a:t>Second bullet level</a:t>
            </a:r>
          </a:p>
          <a:p>
            <a:pPr lvl="4"/>
            <a:r>
              <a:rPr lang="en-GB" noProof="0" dirty="0"/>
              <a:t>Third bullet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 hasCustomPrompt="1"/>
          </p:nvPr>
        </p:nvSpPr>
        <p:spPr>
          <a:xfrm>
            <a:off x="2771775" y="1092201"/>
            <a:ext cx="6028031" cy="4680000"/>
          </a:xfrm>
        </p:spPr>
        <p:txBody>
          <a:bodyPr anchor="ctr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en-GB" dirty="0"/>
              <a:t>Photo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5238750" y="-520700"/>
            <a:ext cx="3905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sz="1800" dirty="0"/>
              <a:t>Text +</a:t>
            </a:r>
            <a:r>
              <a:rPr lang="nl-NL" sz="1800" baseline="0" dirty="0"/>
              <a:t> Photo (25%/75%)</a:t>
            </a:r>
            <a:endParaRPr lang="nl-NL" sz="1800" dirty="0"/>
          </a:p>
        </p:txBody>
      </p:sp>
      <p:grpSp>
        <p:nvGrpSpPr>
          <p:cNvPr id="110" name="Groep 109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111" name="Rechthoek 110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XT LEVELS</a:t>
              </a:r>
            </a:p>
          </p:txBody>
        </p:sp>
        <p:sp>
          <p:nvSpPr>
            <p:cNvPr id="112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ird bullets  (24 pt.)</a:t>
              </a:r>
            </a:p>
          </p:txBody>
        </p:sp>
        <p:sp>
          <p:nvSpPr>
            <p:cNvPr id="113" name="Ovaal 112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14" name="Ovaal 113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15" name="Ovaal 114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16" name="Ovaal 115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17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defPPr>
                <a:defRPr lang="nl-NL"/>
              </a:defPPr>
              <a:lvl1pPr indent="0" defTabSz="1087016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/>
              </a:lvl1pPr>
              <a:lvl2pPr marL="228600" lvl="1" indent="-228600" defTabSz="1087016" fontAlgn="auto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+mj-lt"/>
                <a:buAutoNum type="arabicPeriod"/>
                <a:tabLst/>
                <a:defRPr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defRPr>
              </a:lvl2pPr>
              <a:lvl3pPr marL="396875" indent="-160338" defTabSz="1087016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/>
              </a:lvl3pPr>
              <a:lvl4pPr marL="0" indent="0" defTabSz="1087016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/>
              </a:lvl4pPr>
              <a:lvl5pPr marL="0" indent="0" defTabSz="1087016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baseline="0">
                  <a:solidFill>
                    <a:schemeClr val="tx2"/>
                  </a:solidFill>
                </a:defRPr>
              </a:lvl5pPr>
              <a:lvl6pPr marL="0" indent="0" defTabSz="1087016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6pPr>
              <a:lvl7pPr marL="3532800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7pPr>
              <a:lvl8pPr marL="4076308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8pPr>
              <a:lvl9pPr marL="4619815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9pPr>
            </a:lstStyle>
            <a:p>
              <a:pPr lvl="1"/>
              <a:r>
                <a:rPr lang="nl-NL" dirty="0"/>
                <a:t>Numbers bullets  (24 pt.)</a:t>
              </a:r>
            </a:p>
          </p:txBody>
        </p:sp>
        <p:sp>
          <p:nvSpPr>
            <p:cNvPr id="118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Second bullets (24 pt.)</a:t>
              </a:r>
            </a:p>
          </p:txBody>
        </p:sp>
        <p:cxnSp>
          <p:nvCxnSpPr>
            <p:cNvPr id="119" name="Rechte verbindingslijn 118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120" name="Rechte verbindingslijn 119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121" name="Rechte verbindingslijn 120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122" name="Groep 121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271" name="Afgeronde rechthoek 270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272" name="Groep 271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273" name="Rechthoek 272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4" name="Rechthoek 273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5" name="Rechthoek 274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6" name="Rechthoek 275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7" name="Rechthoek 276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8" name="Rechthoek 277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9" name="Rechthoek 278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0" name="Rechthoek 279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1" name="Rechthoek 280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2" name="Rechthoek 281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3" name="Vrije vorm 282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123" name="Groep 122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249" name="Rechthoek 248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250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51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252" name="Groep 251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266" name="Rechthoek 265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7" name="Rechthoek 266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8" name="Rechthoek 267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9" name="Rechthoek 268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0" name="Rechthoek 269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253" name="Groep 252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254" name="Groep 253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261" name="Rechthoek 260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2" name="Rechthoek 261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3" name="Rechthoek 262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4" name="Rechthoek 263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5" name="Rechthoek 264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255" name="Groep 254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256" name="Rechthoek 255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7" name="Rechthoek 256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8" name="Rechthoek 257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9" name="Rechthoek 258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0" name="Rechthoek 259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124" name="Groep 123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236" name="Afgeronde rechthoek 235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237" name="Groep 236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238" name="Rechthoek 237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39" name="Rechthoek 238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0" name="Rechthoek 239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1" name="Rechthoek 240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2" name="Rechthoek 241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3" name="Rechthoek 242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4" name="Rechthoek 243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5" name="Rechthoek 244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6" name="Rechthoek 245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7" name="Rechthoek 246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8" name="Vrije vorm 247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125" name="Rechte verbindingslijn 124"/>
            <p:cNvCxnSpPr>
              <a:endCxn id="236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126" name="Rechte verbindingslijn 125"/>
            <p:cNvCxnSpPr>
              <a:endCxn id="271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127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up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28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down</a:t>
              </a:r>
            </a:p>
          </p:txBody>
        </p:sp>
        <p:sp>
          <p:nvSpPr>
            <p:cNvPr id="129" name="Ovaal 128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130" name="Groep 129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135" name="Afgeronde rechthoek 134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235" name="Vrije vorm 234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131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Standard text (24 pt.) </a:t>
              </a:r>
            </a:p>
          </p:txBody>
        </p:sp>
        <p:sp>
          <p:nvSpPr>
            <p:cNvPr id="132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Header 1 (28 pt.)</a:t>
              </a:r>
            </a:p>
          </p:txBody>
        </p:sp>
        <p:sp>
          <p:nvSpPr>
            <p:cNvPr id="133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o to the tab Start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ere you will find two buttons as shown below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By means these buttons you can easily switch between text levels.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cxnSp>
          <p:nvCxnSpPr>
            <p:cNvPr id="134" name="Rechte verbindingslijn 133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</p:grpSp>
      <p:grpSp>
        <p:nvGrpSpPr>
          <p:cNvPr id="284" name="Instruction Image Cropping"/>
          <p:cNvGrpSpPr/>
          <p:nvPr userDrawn="1"/>
        </p:nvGrpSpPr>
        <p:grpSpPr>
          <a:xfrm>
            <a:off x="9832607" y="21754"/>
            <a:ext cx="2733484" cy="6868888"/>
            <a:chOff x="12346582" y="-5444"/>
            <a:chExt cx="2733484" cy="6868888"/>
          </a:xfrm>
        </p:grpSpPr>
        <p:grpSp>
          <p:nvGrpSpPr>
            <p:cNvPr id="285" name="bijsnijden"/>
            <p:cNvGrpSpPr/>
            <p:nvPr userDrawn="1"/>
          </p:nvGrpSpPr>
          <p:grpSpPr>
            <a:xfrm>
              <a:off x="12346582" y="5717305"/>
              <a:ext cx="779464" cy="828260"/>
              <a:chOff x="13143038" y="5655940"/>
              <a:chExt cx="779464" cy="828260"/>
            </a:xfrm>
          </p:grpSpPr>
          <p:grpSp>
            <p:nvGrpSpPr>
              <p:cNvPr id="303" name="Groep 3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306" name="Rechthoek 3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307" name="Afbeelding 3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308" name="L-vorm 3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09" name="L-vorm 3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3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305" name="Rechthoekige driehoek 3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dirty="0" err="1">
                  <a:solidFill>
                    <a:schemeClr val="accent4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86" name="Rechthoek 2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chemeClr val="bg2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87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n image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88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Select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the image you want to use </a:t>
              </a:r>
              <a:b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</a:t>
              </a:r>
              <a:r>
                <a:rPr lang="en-US" sz="1200" b="1" kern="0" noProof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ert’</a:t>
              </a:r>
              <a:endParaRPr kumimoji="0" lang="nl-NL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89" name="Ovaal 288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90" name="Ovaal 289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91" name="Rechte verbindingslijn 2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292" name="Rechte verbindingslijn 291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293" name="Rechte verbindingslijn 292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pic>
          <p:nvPicPr>
            <p:cNvPr id="2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490583"/>
              <a:ext cx="521075" cy="521075"/>
            </a:xfrm>
            <a:prstGeom prst="rect">
              <a:avLst/>
            </a:prstGeom>
          </p:spPr>
        </p:pic>
        <p:sp>
          <p:nvSpPr>
            <p:cNvPr id="295" name="Tekstvak 33"/>
            <p:cNvSpPr txBox="1"/>
            <p:nvPr/>
          </p:nvSpPr>
          <p:spPr>
            <a:xfrm>
              <a:off x="12479311" y="5017802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Picture Tools’ </a:t>
              </a:r>
              <a:r>
                <a:rPr lang="en-US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Crop’</a:t>
              </a:r>
              <a:endParaRPr lang="nl-NL" sz="1200" b="1" kern="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6" name="Ovaal 295"/>
            <p:cNvSpPr/>
            <p:nvPr/>
          </p:nvSpPr>
          <p:spPr>
            <a:xfrm>
              <a:off x="12488779" y="4532940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297" name="Rechte verbindingslijn 2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298" name="Groep 297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299" name="Afgeronde rechthoek 2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 dirty="0"/>
                  <a:t>Insert</a:t>
                </a:r>
              </a:p>
            </p:txBody>
          </p:sp>
          <p:cxnSp>
            <p:nvCxnSpPr>
              <p:cNvPr id="301" name="Rechte verbindingslijn 3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2" name="Gelijkbenige driehoek 3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2034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 (25%/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4197" y="377838"/>
            <a:ext cx="8455610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enter title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2990851" y="1092201"/>
            <a:ext cx="5808956" cy="4680000"/>
          </a:xfrm>
        </p:spPr>
        <p:txBody>
          <a:bodyPr vert="horz"/>
          <a:lstStyle/>
          <a:p>
            <a:pPr lvl="0"/>
            <a:r>
              <a:rPr lang="en-GB" noProof="0" dirty="0"/>
              <a:t>This is header 1</a:t>
            </a:r>
          </a:p>
          <a:p>
            <a:pPr lvl="1"/>
            <a:r>
              <a:rPr lang="en-GB" noProof="0" dirty="0"/>
              <a:t>This is standard text</a:t>
            </a:r>
          </a:p>
          <a:p>
            <a:pPr lvl="2"/>
            <a:r>
              <a:rPr lang="en-GB" noProof="0" dirty="0"/>
              <a:t>First bullet level</a:t>
            </a:r>
          </a:p>
          <a:p>
            <a:pPr lvl="3"/>
            <a:r>
              <a:rPr lang="en-GB" noProof="0" dirty="0"/>
              <a:t>Second bullet level</a:t>
            </a:r>
          </a:p>
          <a:p>
            <a:pPr lvl="4"/>
            <a:r>
              <a:rPr lang="en-GB" noProof="0" dirty="0"/>
              <a:t>Third bullet level</a:t>
            </a:r>
          </a:p>
          <a:p>
            <a:pPr lvl="0"/>
            <a:r>
              <a:rPr lang="en-GB" noProof="0" dirty="0"/>
              <a:t>This is header 1</a:t>
            </a:r>
          </a:p>
          <a:p>
            <a:pPr lvl="1"/>
            <a:r>
              <a:rPr lang="en-GB" noProof="0" dirty="0"/>
              <a:t>This is standard text</a:t>
            </a:r>
          </a:p>
          <a:p>
            <a:pPr lvl="2"/>
            <a:r>
              <a:rPr lang="en-GB" noProof="0" dirty="0"/>
              <a:t>First bullet level</a:t>
            </a:r>
          </a:p>
          <a:p>
            <a:pPr lvl="3"/>
            <a:r>
              <a:rPr lang="en-GB" noProof="0" dirty="0"/>
              <a:t>Second bullet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 hasCustomPrompt="1"/>
          </p:nvPr>
        </p:nvSpPr>
        <p:spPr>
          <a:xfrm>
            <a:off x="344197" y="1092201"/>
            <a:ext cx="2360906" cy="4680000"/>
          </a:xfrm>
        </p:spPr>
        <p:txBody>
          <a:bodyPr anchor="ctr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en-GB" dirty="0"/>
              <a:t>Photo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5238750" y="-520700"/>
            <a:ext cx="3905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sz="1800" baseline="0" dirty="0"/>
              <a:t>Photo + </a:t>
            </a:r>
            <a:r>
              <a:rPr lang="nl-NL" sz="1800" dirty="0"/>
              <a:t>Text</a:t>
            </a:r>
            <a:r>
              <a:rPr lang="nl-NL" sz="1800" baseline="0" dirty="0"/>
              <a:t> (25%/75%)</a:t>
            </a:r>
            <a:endParaRPr lang="nl-NL" sz="1800" dirty="0"/>
          </a:p>
        </p:txBody>
      </p:sp>
      <p:grpSp>
        <p:nvGrpSpPr>
          <p:cNvPr id="110" name="Groep 109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111" name="Rechthoek 110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XT LEVELS</a:t>
              </a:r>
            </a:p>
          </p:txBody>
        </p:sp>
        <p:sp>
          <p:nvSpPr>
            <p:cNvPr id="112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ird bullets  (24 pt.)</a:t>
              </a:r>
            </a:p>
          </p:txBody>
        </p:sp>
        <p:sp>
          <p:nvSpPr>
            <p:cNvPr id="113" name="Ovaal 112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14" name="Ovaal 113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15" name="Ovaal 114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16" name="Ovaal 115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17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defPPr>
                <a:defRPr lang="nl-NL"/>
              </a:defPPr>
              <a:lvl1pPr indent="0" defTabSz="1087016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/>
              </a:lvl1pPr>
              <a:lvl2pPr marL="228600" lvl="1" indent="-228600" defTabSz="1087016" fontAlgn="auto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+mj-lt"/>
                <a:buAutoNum type="arabicPeriod"/>
                <a:tabLst/>
                <a:defRPr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defRPr>
              </a:lvl2pPr>
              <a:lvl3pPr marL="396875" indent="-160338" defTabSz="1087016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/>
              </a:lvl3pPr>
              <a:lvl4pPr marL="0" indent="0" defTabSz="1087016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/>
              </a:lvl4pPr>
              <a:lvl5pPr marL="0" indent="0" defTabSz="1087016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baseline="0">
                  <a:solidFill>
                    <a:schemeClr val="tx2"/>
                  </a:solidFill>
                </a:defRPr>
              </a:lvl5pPr>
              <a:lvl6pPr marL="0" indent="0" defTabSz="1087016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6pPr>
              <a:lvl7pPr marL="3532800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7pPr>
              <a:lvl8pPr marL="4076308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8pPr>
              <a:lvl9pPr marL="4619815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9pPr>
            </a:lstStyle>
            <a:p>
              <a:pPr lvl="1"/>
              <a:r>
                <a:rPr lang="nl-NL" dirty="0"/>
                <a:t>Numbers bullets  (24 pt.)</a:t>
              </a:r>
            </a:p>
          </p:txBody>
        </p:sp>
        <p:sp>
          <p:nvSpPr>
            <p:cNvPr id="118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Second bullets (24 pt.)</a:t>
              </a:r>
            </a:p>
          </p:txBody>
        </p:sp>
        <p:cxnSp>
          <p:nvCxnSpPr>
            <p:cNvPr id="119" name="Rechte verbindingslijn 118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120" name="Rechte verbindingslijn 119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121" name="Rechte verbindingslijn 120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122" name="Groep 121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271" name="Afgeronde rechthoek 270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272" name="Groep 271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273" name="Rechthoek 272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4" name="Rechthoek 273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5" name="Rechthoek 274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6" name="Rechthoek 275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7" name="Rechthoek 276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8" name="Rechthoek 277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9" name="Rechthoek 278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0" name="Rechthoek 279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1" name="Rechthoek 280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2" name="Rechthoek 281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3" name="Vrije vorm 282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123" name="Groep 122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249" name="Rechthoek 248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250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51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252" name="Groep 251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266" name="Rechthoek 265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7" name="Rechthoek 266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8" name="Rechthoek 267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9" name="Rechthoek 268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0" name="Rechthoek 269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253" name="Groep 252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254" name="Groep 253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261" name="Rechthoek 260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2" name="Rechthoek 261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3" name="Rechthoek 262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4" name="Rechthoek 263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5" name="Rechthoek 264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255" name="Groep 254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256" name="Rechthoek 255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7" name="Rechthoek 256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8" name="Rechthoek 257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9" name="Rechthoek 258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0" name="Rechthoek 259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124" name="Groep 123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236" name="Afgeronde rechthoek 235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237" name="Groep 236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238" name="Rechthoek 237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39" name="Rechthoek 238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0" name="Rechthoek 239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1" name="Rechthoek 240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2" name="Rechthoek 241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3" name="Rechthoek 242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4" name="Rechthoek 243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5" name="Rechthoek 244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6" name="Rechthoek 245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7" name="Rechthoek 246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8" name="Vrije vorm 247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125" name="Rechte verbindingslijn 124"/>
            <p:cNvCxnSpPr>
              <a:endCxn id="236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126" name="Rechte verbindingslijn 125"/>
            <p:cNvCxnSpPr>
              <a:endCxn id="271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127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up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28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down</a:t>
              </a:r>
            </a:p>
          </p:txBody>
        </p:sp>
        <p:sp>
          <p:nvSpPr>
            <p:cNvPr id="129" name="Ovaal 128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130" name="Groep 129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135" name="Afgeronde rechthoek 134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235" name="Vrije vorm 234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131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Standard text (24 pt.) </a:t>
              </a:r>
            </a:p>
          </p:txBody>
        </p:sp>
        <p:sp>
          <p:nvSpPr>
            <p:cNvPr id="132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Header 1 (28 pt.)</a:t>
              </a:r>
            </a:p>
          </p:txBody>
        </p:sp>
        <p:sp>
          <p:nvSpPr>
            <p:cNvPr id="133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o to the tab Start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ere you will find two buttons as shown below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By means these buttons you can easily switch between text levels.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cxnSp>
          <p:nvCxnSpPr>
            <p:cNvPr id="134" name="Rechte verbindingslijn 133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</p:grpSp>
      <p:grpSp>
        <p:nvGrpSpPr>
          <p:cNvPr id="284" name="Instruction Image Cropping"/>
          <p:cNvGrpSpPr/>
          <p:nvPr userDrawn="1"/>
        </p:nvGrpSpPr>
        <p:grpSpPr>
          <a:xfrm>
            <a:off x="9832607" y="21754"/>
            <a:ext cx="2733484" cy="6868888"/>
            <a:chOff x="12346582" y="-5444"/>
            <a:chExt cx="2733484" cy="6868888"/>
          </a:xfrm>
        </p:grpSpPr>
        <p:grpSp>
          <p:nvGrpSpPr>
            <p:cNvPr id="285" name="bijsnijden"/>
            <p:cNvGrpSpPr/>
            <p:nvPr userDrawn="1"/>
          </p:nvGrpSpPr>
          <p:grpSpPr>
            <a:xfrm>
              <a:off x="12346582" y="5717305"/>
              <a:ext cx="779464" cy="828260"/>
              <a:chOff x="13143038" y="5655940"/>
              <a:chExt cx="779464" cy="828260"/>
            </a:xfrm>
          </p:grpSpPr>
          <p:grpSp>
            <p:nvGrpSpPr>
              <p:cNvPr id="303" name="Groep 3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306" name="Rechthoek 3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307" name="Afbeelding 3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308" name="L-vorm 3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09" name="L-vorm 3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3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305" name="Rechthoekige driehoek 3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dirty="0" err="1">
                  <a:solidFill>
                    <a:schemeClr val="accent4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86" name="Rechthoek 2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chemeClr val="bg2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87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n image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88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Select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the image you want to use </a:t>
              </a:r>
              <a:b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</a:t>
              </a:r>
              <a:r>
                <a:rPr lang="en-US" sz="1200" b="1" kern="0" noProof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ert’</a:t>
              </a:r>
              <a:endParaRPr kumimoji="0" lang="nl-NL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89" name="Ovaal 288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90" name="Ovaal 289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91" name="Rechte verbindingslijn 2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292" name="Rechte verbindingslijn 291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293" name="Rechte verbindingslijn 292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pic>
          <p:nvPicPr>
            <p:cNvPr id="2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490583"/>
              <a:ext cx="521075" cy="521075"/>
            </a:xfrm>
            <a:prstGeom prst="rect">
              <a:avLst/>
            </a:prstGeom>
          </p:spPr>
        </p:pic>
        <p:sp>
          <p:nvSpPr>
            <p:cNvPr id="295" name="Tekstvak 33"/>
            <p:cNvSpPr txBox="1"/>
            <p:nvPr/>
          </p:nvSpPr>
          <p:spPr>
            <a:xfrm>
              <a:off x="12479311" y="5017802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Picture Tools’ </a:t>
              </a:r>
              <a:r>
                <a:rPr lang="en-US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Crop’</a:t>
              </a:r>
              <a:endParaRPr lang="nl-NL" sz="1200" b="1" kern="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6" name="Ovaal 295"/>
            <p:cNvSpPr/>
            <p:nvPr/>
          </p:nvSpPr>
          <p:spPr>
            <a:xfrm>
              <a:off x="12488779" y="4532940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297" name="Rechte verbindingslijn 2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298" name="Groep 297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299" name="Afgeronde rechthoek 2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 dirty="0"/>
                  <a:t>Insert</a:t>
                </a:r>
              </a:p>
            </p:txBody>
          </p:sp>
          <p:cxnSp>
            <p:nvCxnSpPr>
              <p:cNvPr id="301" name="Rechte verbindingslijn 3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2" name="Gelijkbenige driehoek 3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5630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4197" y="377838"/>
            <a:ext cx="8455610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enter title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4838701" y="1092201"/>
            <a:ext cx="3961106" cy="4680000"/>
          </a:xfrm>
        </p:spPr>
        <p:txBody>
          <a:bodyPr vert="horz"/>
          <a:lstStyle/>
          <a:p>
            <a:pPr lvl="0"/>
            <a:r>
              <a:rPr lang="en-GB" noProof="0" dirty="0"/>
              <a:t>This is header 1</a:t>
            </a:r>
          </a:p>
          <a:p>
            <a:pPr lvl="1"/>
            <a:r>
              <a:rPr lang="en-GB" noProof="0" dirty="0"/>
              <a:t>This is standard text</a:t>
            </a:r>
          </a:p>
          <a:p>
            <a:pPr lvl="2"/>
            <a:r>
              <a:rPr lang="en-GB" noProof="0" dirty="0"/>
              <a:t>First bullet level</a:t>
            </a:r>
          </a:p>
          <a:p>
            <a:pPr lvl="3"/>
            <a:r>
              <a:rPr lang="en-GB" noProof="0" dirty="0"/>
              <a:t>Second bullet level</a:t>
            </a:r>
          </a:p>
          <a:p>
            <a:pPr lvl="4"/>
            <a:r>
              <a:rPr lang="en-GB" noProof="0" dirty="0"/>
              <a:t>Third bullet level</a:t>
            </a:r>
          </a:p>
          <a:p>
            <a:pPr lvl="0"/>
            <a:r>
              <a:rPr lang="en-GB" noProof="0" dirty="0"/>
              <a:t>This is header 1</a:t>
            </a:r>
          </a:p>
          <a:p>
            <a:pPr lvl="1"/>
            <a:r>
              <a:rPr lang="en-GB" noProof="0" dirty="0"/>
              <a:t>This is standard text</a:t>
            </a:r>
          </a:p>
          <a:p>
            <a:pPr lvl="2"/>
            <a:r>
              <a:rPr lang="en-GB" noProof="0" dirty="0"/>
              <a:t>First bullet level</a:t>
            </a:r>
          </a:p>
          <a:p>
            <a:pPr lvl="3"/>
            <a:r>
              <a:rPr lang="en-GB" noProof="0" dirty="0"/>
              <a:t>Second bullet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 hasCustomPrompt="1"/>
          </p:nvPr>
        </p:nvSpPr>
        <p:spPr>
          <a:xfrm>
            <a:off x="344195" y="1092201"/>
            <a:ext cx="4164458" cy="4680000"/>
          </a:xfrm>
        </p:spPr>
        <p:txBody>
          <a:bodyPr anchor="ctr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en-GB" dirty="0"/>
              <a:t>Photo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5238750" y="-520700"/>
            <a:ext cx="3905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sz="1800" baseline="0" dirty="0"/>
              <a:t>Photo + </a:t>
            </a:r>
            <a:r>
              <a:rPr lang="nl-NL" sz="1800" dirty="0"/>
              <a:t>Text</a:t>
            </a:r>
            <a:r>
              <a:rPr lang="nl-NL" sz="1800" baseline="0" dirty="0"/>
              <a:t> (50%/50%)</a:t>
            </a:r>
            <a:endParaRPr lang="nl-NL" sz="1800" dirty="0"/>
          </a:p>
        </p:txBody>
      </p:sp>
      <p:grpSp>
        <p:nvGrpSpPr>
          <p:cNvPr id="110" name="Groep 109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111" name="Rechthoek 110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XT LEVELS</a:t>
              </a:r>
            </a:p>
          </p:txBody>
        </p:sp>
        <p:sp>
          <p:nvSpPr>
            <p:cNvPr id="112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ird bullets  (24 pt.)</a:t>
              </a:r>
            </a:p>
          </p:txBody>
        </p:sp>
        <p:sp>
          <p:nvSpPr>
            <p:cNvPr id="113" name="Ovaal 112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14" name="Ovaal 113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15" name="Ovaal 114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16" name="Ovaal 115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17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defPPr>
                <a:defRPr lang="nl-NL"/>
              </a:defPPr>
              <a:lvl1pPr indent="0" defTabSz="1087016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/>
              </a:lvl1pPr>
              <a:lvl2pPr marL="228600" lvl="1" indent="-228600" defTabSz="1087016" fontAlgn="auto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+mj-lt"/>
                <a:buAutoNum type="arabicPeriod"/>
                <a:tabLst/>
                <a:defRPr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defRPr>
              </a:lvl2pPr>
              <a:lvl3pPr marL="396875" indent="-160338" defTabSz="1087016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/>
              </a:lvl3pPr>
              <a:lvl4pPr marL="0" indent="0" defTabSz="1087016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/>
              </a:lvl4pPr>
              <a:lvl5pPr marL="0" indent="0" defTabSz="1087016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baseline="0">
                  <a:solidFill>
                    <a:schemeClr val="tx2"/>
                  </a:solidFill>
                </a:defRPr>
              </a:lvl5pPr>
              <a:lvl6pPr marL="0" indent="0" defTabSz="1087016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6pPr>
              <a:lvl7pPr marL="3532800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7pPr>
              <a:lvl8pPr marL="4076308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8pPr>
              <a:lvl9pPr marL="4619815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9pPr>
            </a:lstStyle>
            <a:p>
              <a:pPr lvl="1"/>
              <a:r>
                <a:rPr lang="nl-NL" dirty="0"/>
                <a:t>Numbers bullets  (24 pt.)</a:t>
              </a:r>
            </a:p>
          </p:txBody>
        </p:sp>
        <p:sp>
          <p:nvSpPr>
            <p:cNvPr id="118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Second bullets (24 pt.)</a:t>
              </a:r>
            </a:p>
          </p:txBody>
        </p:sp>
        <p:cxnSp>
          <p:nvCxnSpPr>
            <p:cNvPr id="119" name="Rechte verbindingslijn 118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120" name="Rechte verbindingslijn 119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121" name="Rechte verbindingslijn 120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122" name="Groep 121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271" name="Afgeronde rechthoek 270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272" name="Groep 271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273" name="Rechthoek 272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4" name="Rechthoek 273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5" name="Rechthoek 274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6" name="Rechthoek 275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7" name="Rechthoek 276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8" name="Rechthoek 277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9" name="Rechthoek 278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0" name="Rechthoek 279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1" name="Rechthoek 280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2" name="Rechthoek 281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3" name="Vrije vorm 282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123" name="Groep 122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249" name="Rechthoek 248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250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51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252" name="Groep 251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266" name="Rechthoek 265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7" name="Rechthoek 266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8" name="Rechthoek 267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9" name="Rechthoek 268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0" name="Rechthoek 269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253" name="Groep 252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254" name="Groep 253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261" name="Rechthoek 260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2" name="Rechthoek 261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3" name="Rechthoek 262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4" name="Rechthoek 263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5" name="Rechthoek 264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255" name="Groep 254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256" name="Rechthoek 255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7" name="Rechthoek 256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8" name="Rechthoek 257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9" name="Rechthoek 258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0" name="Rechthoek 259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124" name="Groep 123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236" name="Afgeronde rechthoek 235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237" name="Groep 236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238" name="Rechthoek 237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39" name="Rechthoek 238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0" name="Rechthoek 239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1" name="Rechthoek 240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2" name="Rechthoek 241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3" name="Rechthoek 242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4" name="Rechthoek 243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5" name="Rechthoek 244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6" name="Rechthoek 245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7" name="Rechthoek 246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8" name="Vrije vorm 247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125" name="Rechte verbindingslijn 124"/>
            <p:cNvCxnSpPr>
              <a:endCxn id="236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126" name="Rechte verbindingslijn 125"/>
            <p:cNvCxnSpPr>
              <a:endCxn id="271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127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up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28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down</a:t>
              </a:r>
            </a:p>
          </p:txBody>
        </p:sp>
        <p:sp>
          <p:nvSpPr>
            <p:cNvPr id="129" name="Ovaal 128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130" name="Groep 129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135" name="Afgeronde rechthoek 134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235" name="Vrije vorm 234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131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Standard text (24 pt.) </a:t>
              </a:r>
            </a:p>
          </p:txBody>
        </p:sp>
        <p:sp>
          <p:nvSpPr>
            <p:cNvPr id="132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Header 1 (28 pt.)</a:t>
              </a:r>
            </a:p>
          </p:txBody>
        </p:sp>
        <p:sp>
          <p:nvSpPr>
            <p:cNvPr id="133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o to the tab Start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ere you will find two buttons as shown below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By means these buttons you can easily switch between text levels.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cxnSp>
          <p:nvCxnSpPr>
            <p:cNvPr id="134" name="Rechte verbindingslijn 133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</p:grpSp>
      <p:grpSp>
        <p:nvGrpSpPr>
          <p:cNvPr id="284" name="Instruction Image Cropping"/>
          <p:cNvGrpSpPr/>
          <p:nvPr userDrawn="1"/>
        </p:nvGrpSpPr>
        <p:grpSpPr>
          <a:xfrm>
            <a:off x="9832607" y="21754"/>
            <a:ext cx="2733484" cy="6868888"/>
            <a:chOff x="12346582" y="-5444"/>
            <a:chExt cx="2733484" cy="6868888"/>
          </a:xfrm>
        </p:grpSpPr>
        <p:grpSp>
          <p:nvGrpSpPr>
            <p:cNvPr id="285" name="bijsnijden"/>
            <p:cNvGrpSpPr/>
            <p:nvPr userDrawn="1"/>
          </p:nvGrpSpPr>
          <p:grpSpPr>
            <a:xfrm>
              <a:off x="12346582" y="5717305"/>
              <a:ext cx="779464" cy="828260"/>
              <a:chOff x="13143038" y="5655940"/>
              <a:chExt cx="779464" cy="828260"/>
            </a:xfrm>
          </p:grpSpPr>
          <p:grpSp>
            <p:nvGrpSpPr>
              <p:cNvPr id="303" name="Groep 3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306" name="Rechthoek 3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307" name="Afbeelding 3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308" name="L-vorm 3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09" name="L-vorm 3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3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305" name="Rechthoekige driehoek 3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dirty="0" err="1">
                  <a:solidFill>
                    <a:schemeClr val="accent4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86" name="Rechthoek 2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chemeClr val="bg2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87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n image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88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Select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the image you want to use </a:t>
              </a:r>
              <a:b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</a:t>
              </a:r>
              <a:r>
                <a:rPr lang="en-US" sz="1200" b="1" kern="0" noProof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ert’</a:t>
              </a:r>
              <a:endParaRPr kumimoji="0" lang="nl-NL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89" name="Ovaal 288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90" name="Ovaal 289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91" name="Rechte verbindingslijn 2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292" name="Rechte verbindingslijn 291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293" name="Rechte verbindingslijn 292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pic>
          <p:nvPicPr>
            <p:cNvPr id="2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490583"/>
              <a:ext cx="521075" cy="521075"/>
            </a:xfrm>
            <a:prstGeom prst="rect">
              <a:avLst/>
            </a:prstGeom>
          </p:spPr>
        </p:pic>
        <p:sp>
          <p:nvSpPr>
            <p:cNvPr id="295" name="Tekstvak 33"/>
            <p:cNvSpPr txBox="1"/>
            <p:nvPr/>
          </p:nvSpPr>
          <p:spPr>
            <a:xfrm>
              <a:off x="12479311" y="5017802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Picture Tools’ </a:t>
              </a:r>
              <a:r>
                <a:rPr lang="en-US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Crop’</a:t>
              </a:r>
              <a:endParaRPr lang="nl-NL" sz="1200" b="1" kern="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6" name="Ovaal 295"/>
            <p:cNvSpPr/>
            <p:nvPr/>
          </p:nvSpPr>
          <p:spPr>
            <a:xfrm>
              <a:off x="12488779" y="4532940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297" name="Rechte verbindingslijn 2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298" name="Groep 297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299" name="Afgeronde rechthoek 2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 dirty="0"/>
                  <a:t>Insert</a:t>
                </a:r>
              </a:p>
            </p:txBody>
          </p:sp>
          <p:cxnSp>
            <p:nvCxnSpPr>
              <p:cNvPr id="301" name="Rechte verbindingslijn 3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2" name="Gelijkbenige driehoek 3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12372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 (75%/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4197" y="377838"/>
            <a:ext cx="8455610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enter title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6572251" y="1092201"/>
            <a:ext cx="2227556" cy="4680000"/>
          </a:xfrm>
        </p:spPr>
        <p:txBody>
          <a:bodyPr vert="horz"/>
          <a:lstStyle/>
          <a:p>
            <a:pPr lvl="0"/>
            <a:r>
              <a:rPr lang="en-GB" noProof="0" dirty="0"/>
              <a:t>This is header 1</a:t>
            </a:r>
          </a:p>
          <a:p>
            <a:pPr lvl="1"/>
            <a:r>
              <a:rPr lang="en-GB" noProof="0" dirty="0"/>
              <a:t>This is standard text</a:t>
            </a:r>
          </a:p>
          <a:p>
            <a:pPr lvl="2"/>
            <a:r>
              <a:rPr lang="en-GB" noProof="0" dirty="0"/>
              <a:t>First bullet level</a:t>
            </a:r>
          </a:p>
          <a:p>
            <a:pPr lvl="3"/>
            <a:r>
              <a:rPr lang="en-GB" noProof="0" dirty="0"/>
              <a:t>Second bullet level</a:t>
            </a:r>
          </a:p>
          <a:p>
            <a:pPr lvl="4"/>
            <a:r>
              <a:rPr lang="en-GB" noProof="0" dirty="0"/>
              <a:t>Third bullet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 hasCustomPrompt="1"/>
          </p:nvPr>
        </p:nvSpPr>
        <p:spPr>
          <a:xfrm>
            <a:off x="344196" y="1092201"/>
            <a:ext cx="5941462" cy="4680000"/>
          </a:xfrm>
        </p:spPr>
        <p:txBody>
          <a:bodyPr anchor="ctr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en-GB" dirty="0"/>
              <a:t>Photo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5238750" y="-520700"/>
            <a:ext cx="3905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sz="1800" baseline="0" dirty="0"/>
              <a:t>Photo + </a:t>
            </a:r>
            <a:r>
              <a:rPr lang="nl-NL" sz="1800" dirty="0"/>
              <a:t>Text</a:t>
            </a:r>
            <a:r>
              <a:rPr lang="nl-NL" sz="1800" baseline="0" dirty="0"/>
              <a:t> (75%/25%)</a:t>
            </a:r>
            <a:endParaRPr lang="nl-NL" sz="1800" dirty="0"/>
          </a:p>
        </p:txBody>
      </p:sp>
      <p:grpSp>
        <p:nvGrpSpPr>
          <p:cNvPr id="110" name="Groep 109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111" name="Rechthoek 110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XT LEVELS</a:t>
              </a:r>
            </a:p>
          </p:txBody>
        </p:sp>
        <p:sp>
          <p:nvSpPr>
            <p:cNvPr id="112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ird bullets  (24 pt.)</a:t>
              </a:r>
            </a:p>
          </p:txBody>
        </p:sp>
        <p:sp>
          <p:nvSpPr>
            <p:cNvPr id="113" name="Ovaal 112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14" name="Ovaal 113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15" name="Ovaal 114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16" name="Ovaal 115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17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defPPr>
                <a:defRPr lang="nl-NL"/>
              </a:defPPr>
              <a:lvl1pPr indent="0" defTabSz="1087016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/>
              </a:lvl1pPr>
              <a:lvl2pPr marL="228600" lvl="1" indent="-228600" defTabSz="1087016" fontAlgn="auto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+mj-lt"/>
                <a:buAutoNum type="arabicPeriod"/>
                <a:tabLst/>
                <a:defRPr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defRPr>
              </a:lvl2pPr>
              <a:lvl3pPr marL="396875" indent="-160338" defTabSz="1087016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/>
              </a:lvl3pPr>
              <a:lvl4pPr marL="0" indent="0" defTabSz="1087016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/>
              </a:lvl4pPr>
              <a:lvl5pPr marL="0" indent="0" defTabSz="1087016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baseline="0">
                  <a:solidFill>
                    <a:schemeClr val="tx2"/>
                  </a:solidFill>
                </a:defRPr>
              </a:lvl5pPr>
              <a:lvl6pPr marL="0" indent="0" defTabSz="1087016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6pPr>
              <a:lvl7pPr marL="3532800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7pPr>
              <a:lvl8pPr marL="4076308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8pPr>
              <a:lvl9pPr marL="4619815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9pPr>
            </a:lstStyle>
            <a:p>
              <a:pPr lvl="1"/>
              <a:r>
                <a:rPr lang="nl-NL" dirty="0"/>
                <a:t>Numbers bullets  (24 pt.)</a:t>
              </a:r>
            </a:p>
          </p:txBody>
        </p:sp>
        <p:sp>
          <p:nvSpPr>
            <p:cNvPr id="118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Second bullets (24 pt.)</a:t>
              </a:r>
            </a:p>
          </p:txBody>
        </p:sp>
        <p:cxnSp>
          <p:nvCxnSpPr>
            <p:cNvPr id="119" name="Rechte verbindingslijn 118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120" name="Rechte verbindingslijn 119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121" name="Rechte verbindingslijn 120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122" name="Groep 121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271" name="Afgeronde rechthoek 270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272" name="Groep 271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273" name="Rechthoek 272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4" name="Rechthoek 273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5" name="Rechthoek 274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6" name="Rechthoek 275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7" name="Rechthoek 276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8" name="Rechthoek 277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9" name="Rechthoek 278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0" name="Rechthoek 279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1" name="Rechthoek 280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2" name="Rechthoek 281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83" name="Vrije vorm 282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123" name="Groep 122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249" name="Rechthoek 248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250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51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252" name="Groep 251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266" name="Rechthoek 265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7" name="Rechthoek 266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8" name="Rechthoek 267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69" name="Rechthoek 268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70" name="Rechthoek 269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253" name="Groep 252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254" name="Groep 253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261" name="Rechthoek 260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2" name="Rechthoek 261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3" name="Rechthoek 262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4" name="Rechthoek 263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5" name="Rechthoek 264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255" name="Groep 254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256" name="Rechthoek 255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7" name="Rechthoek 256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8" name="Rechthoek 257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59" name="Rechthoek 258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260" name="Rechthoek 259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124" name="Groep 123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236" name="Afgeronde rechthoek 235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237" name="Groep 236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238" name="Rechthoek 237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39" name="Rechthoek 238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0" name="Rechthoek 239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1" name="Rechthoek 240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2" name="Rechthoek 241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3" name="Rechthoek 242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4" name="Rechthoek 243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5" name="Rechthoek 244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6" name="Rechthoek 245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7" name="Rechthoek 246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248" name="Vrije vorm 247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125" name="Rechte verbindingslijn 124"/>
            <p:cNvCxnSpPr>
              <a:endCxn id="236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126" name="Rechte verbindingslijn 125"/>
            <p:cNvCxnSpPr>
              <a:endCxn id="271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127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up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28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down</a:t>
              </a:r>
            </a:p>
          </p:txBody>
        </p:sp>
        <p:sp>
          <p:nvSpPr>
            <p:cNvPr id="129" name="Ovaal 128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130" name="Groep 129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135" name="Afgeronde rechthoek 134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235" name="Vrije vorm 234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131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Standard text (24 pt.) </a:t>
              </a:r>
            </a:p>
          </p:txBody>
        </p:sp>
        <p:sp>
          <p:nvSpPr>
            <p:cNvPr id="132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Header 1 (28 pt.)</a:t>
              </a:r>
            </a:p>
          </p:txBody>
        </p:sp>
        <p:sp>
          <p:nvSpPr>
            <p:cNvPr id="133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o to the tab Start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ere you will find two buttons as shown below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By means these buttons you can easily switch between text levels.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cxnSp>
          <p:nvCxnSpPr>
            <p:cNvPr id="134" name="Rechte verbindingslijn 133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</p:grpSp>
      <p:grpSp>
        <p:nvGrpSpPr>
          <p:cNvPr id="284" name="Instruction Image Cropping"/>
          <p:cNvGrpSpPr/>
          <p:nvPr userDrawn="1"/>
        </p:nvGrpSpPr>
        <p:grpSpPr>
          <a:xfrm>
            <a:off x="9832607" y="21754"/>
            <a:ext cx="2733484" cy="6868888"/>
            <a:chOff x="12346582" y="-5444"/>
            <a:chExt cx="2733484" cy="6868888"/>
          </a:xfrm>
        </p:grpSpPr>
        <p:grpSp>
          <p:nvGrpSpPr>
            <p:cNvPr id="285" name="bijsnijden"/>
            <p:cNvGrpSpPr/>
            <p:nvPr userDrawn="1"/>
          </p:nvGrpSpPr>
          <p:grpSpPr>
            <a:xfrm>
              <a:off x="12346582" y="5717305"/>
              <a:ext cx="779464" cy="828260"/>
              <a:chOff x="13143038" y="5655940"/>
              <a:chExt cx="779464" cy="828260"/>
            </a:xfrm>
          </p:grpSpPr>
          <p:grpSp>
            <p:nvGrpSpPr>
              <p:cNvPr id="303" name="Groep 3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306" name="Rechthoek 3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307" name="Afbeelding 3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308" name="L-vorm 3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09" name="L-vorm 3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3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305" name="Rechthoekige driehoek 3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dirty="0" err="1">
                  <a:solidFill>
                    <a:schemeClr val="accent4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86" name="Rechthoek 2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chemeClr val="bg2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87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n image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88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Select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the image you want to use </a:t>
              </a:r>
              <a:b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</a:t>
              </a:r>
              <a:r>
                <a:rPr lang="en-US" sz="1200" b="1" kern="0" noProof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ert’</a:t>
              </a:r>
              <a:endParaRPr kumimoji="0" lang="nl-NL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89" name="Ovaal 288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90" name="Ovaal 289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91" name="Rechte verbindingslijn 2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292" name="Rechte verbindingslijn 291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293" name="Rechte verbindingslijn 292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pic>
          <p:nvPicPr>
            <p:cNvPr id="2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490583"/>
              <a:ext cx="521075" cy="521075"/>
            </a:xfrm>
            <a:prstGeom prst="rect">
              <a:avLst/>
            </a:prstGeom>
          </p:spPr>
        </p:pic>
        <p:sp>
          <p:nvSpPr>
            <p:cNvPr id="295" name="Tekstvak 33"/>
            <p:cNvSpPr txBox="1"/>
            <p:nvPr/>
          </p:nvSpPr>
          <p:spPr>
            <a:xfrm>
              <a:off x="12479311" y="5017802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Picture Tools’ </a:t>
              </a:r>
              <a:r>
                <a:rPr lang="en-US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Crop’</a:t>
              </a:r>
              <a:endParaRPr lang="nl-NL" sz="1200" b="1" kern="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6" name="Ovaal 295"/>
            <p:cNvSpPr/>
            <p:nvPr/>
          </p:nvSpPr>
          <p:spPr>
            <a:xfrm>
              <a:off x="12488779" y="4532940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297" name="Rechte verbindingslijn 2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298" name="Groep 297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299" name="Afgeronde rechthoek 2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 dirty="0"/>
                  <a:t>Insert</a:t>
                </a:r>
              </a:p>
            </p:txBody>
          </p:sp>
          <p:cxnSp>
            <p:nvCxnSpPr>
              <p:cNvPr id="301" name="Rechte verbindingslijn 3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2" name="Gelijkbenige driehoek 3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91712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4197" y="377838"/>
            <a:ext cx="8455610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enter title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 hasCustomPrompt="1"/>
          </p:nvPr>
        </p:nvSpPr>
        <p:spPr>
          <a:xfrm>
            <a:off x="344195" y="1092201"/>
            <a:ext cx="8455611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en-GB" noProof="0" dirty="0"/>
              <a:t>Photo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5238750" y="-520700"/>
            <a:ext cx="3905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sz="1800" baseline="0" dirty="0"/>
              <a:t>Photo (100%)</a:t>
            </a:r>
            <a:endParaRPr lang="nl-NL" sz="1800" dirty="0"/>
          </a:p>
        </p:txBody>
      </p:sp>
      <p:grpSp>
        <p:nvGrpSpPr>
          <p:cNvPr id="32" name="Instruction Image Cropping"/>
          <p:cNvGrpSpPr/>
          <p:nvPr userDrawn="1"/>
        </p:nvGrpSpPr>
        <p:grpSpPr>
          <a:xfrm>
            <a:off x="9832607" y="21754"/>
            <a:ext cx="2733484" cy="6868888"/>
            <a:chOff x="12346582" y="-5444"/>
            <a:chExt cx="2733484" cy="6868888"/>
          </a:xfrm>
        </p:grpSpPr>
        <p:grpSp>
          <p:nvGrpSpPr>
            <p:cNvPr id="33" name="bijsnijden"/>
            <p:cNvGrpSpPr/>
            <p:nvPr userDrawn="1"/>
          </p:nvGrpSpPr>
          <p:grpSpPr>
            <a:xfrm>
              <a:off x="12346582" y="5717305"/>
              <a:ext cx="779464" cy="828260"/>
              <a:chOff x="13143038" y="5655940"/>
              <a:chExt cx="779464" cy="828260"/>
            </a:xfrm>
          </p:grpSpPr>
          <p:grpSp>
            <p:nvGrpSpPr>
              <p:cNvPr id="51" name="Groep 50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54" name="Rechthoek 53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55" name="Afbeelding 54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56" name="L-vorm 55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7" name="L-vorm 56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dirty="0" err="1">
                    <a:solidFill>
                      <a:schemeClr val="accent4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52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53" name="Rechthoekige driehoek 52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dirty="0" err="1">
                  <a:solidFill>
                    <a:schemeClr val="accent4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34" name="Rechthoek 33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chemeClr val="bg2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35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Click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on the icon to insert an image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6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Select</a:t>
              </a: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 the image you want to use </a:t>
              </a:r>
              <a:b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kumimoji="0" lang="en-US" sz="1200" b="0" i="0" u="none" strike="noStrike" kern="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</a:t>
              </a:r>
              <a:r>
                <a:rPr lang="en-US" sz="1200" b="1" kern="0" noProof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sert’</a:t>
              </a:r>
              <a:endParaRPr kumimoji="0" lang="nl-NL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7" name="Ovaal 36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38" name="Ovaal 37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39" name="Rechte verbindingslijn 38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40" name="Rechte verbindingslijn 39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cxnSp>
          <p:nvCxnSpPr>
            <p:cNvPr id="41" name="Rechte verbindingslijn 40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pic>
          <p:nvPicPr>
            <p:cNvPr id="42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490583"/>
              <a:ext cx="521075" cy="521075"/>
            </a:xfrm>
            <a:prstGeom prst="rect">
              <a:avLst/>
            </a:prstGeom>
          </p:spPr>
        </p:pic>
        <p:sp>
          <p:nvSpPr>
            <p:cNvPr id="43" name="Tekstvak 33"/>
            <p:cNvSpPr txBox="1"/>
            <p:nvPr/>
          </p:nvSpPr>
          <p:spPr>
            <a:xfrm>
              <a:off x="12479311" y="5017802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Picture Tools’ </a:t>
              </a:r>
              <a:r>
                <a:rPr lang="en-US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and click on </a:t>
              </a:r>
              <a:r>
                <a:rPr lang="en-US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Crop’</a:t>
              </a:r>
              <a:endParaRPr lang="nl-NL" sz="1200" b="1" kern="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4" name="Ovaal 43"/>
            <p:cNvSpPr/>
            <p:nvPr/>
          </p:nvSpPr>
          <p:spPr>
            <a:xfrm>
              <a:off x="12488779" y="4532940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45" name="Rechte verbindingslijn 44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46" name="Groep 45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47" name="Afgeronde rechthoek 46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 dirty="0"/>
                  <a:t>Insert</a:t>
                </a:r>
              </a:p>
            </p:txBody>
          </p:sp>
          <p:cxnSp>
            <p:nvCxnSpPr>
              <p:cNvPr id="49" name="Rechte verbindingslijn 48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0" name="Gelijkbenige driehoek 49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22825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vmlDrawing" Target="../drawings/vmlDrawing1.vml"/><Relationship Id="rId21" Type="http://schemas.openxmlformats.org/officeDocument/2006/relationships/tags" Target="../tags/tag2.xml"/><Relationship Id="rId22" Type="http://schemas.openxmlformats.org/officeDocument/2006/relationships/oleObject" Target="../embeddings/oleObject1.bin"/><Relationship Id="rId23" Type="http://schemas.openxmlformats.org/officeDocument/2006/relationships/image" Target="../media/image1.emf"/><Relationship Id="rId24" Type="http://schemas.openxmlformats.org/officeDocument/2006/relationships/image" Target="../media/image2.emf"/><Relationship Id="rId25" Type="http://schemas.openxmlformats.org/officeDocument/2006/relationships/image" Target="../media/image3.png"/><Relationship Id="rId26" Type="http://schemas.openxmlformats.org/officeDocument/2006/relationships/image" Target="../media/image4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165349439"/>
              </p:ext>
            </p:extLst>
          </p:nvPr>
        </p:nvGraphicFramePr>
        <p:xfrm>
          <a:off x="1192" y="160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192" y="160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344197" y="377838"/>
            <a:ext cx="8455610" cy="498475"/>
          </a:xfrm>
          <a:prstGeom prst="rect">
            <a:avLst/>
          </a:prstGeom>
        </p:spPr>
        <p:txBody>
          <a:bodyPr vert="horz" lIns="0" tIns="108000" rIns="108000" bIns="108000" rtlCol="0" anchor="ctr">
            <a:noAutofit/>
          </a:bodyPr>
          <a:lstStyle/>
          <a:p>
            <a:r>
              <a:rPr lang="en-GB" noProof="0" dirty="0"/>
              <a:t>Click to enter 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344197" y="1092201"/>
            <a:ext cx="8455610" cy="4680000"/>
          </a:xfrm>
          <a:prstGeom prst="rect">
            <a:avLst/>
          </a:prstGeom>
        </p:spPr>
        <p:txBody>
          <a:bodyPr vert="horz" lIns="0" tIns="108000" rIns="108000" bIns="108000" rtlCol="0">
            <a:noAutofit/>
          </a:bodyPr>
          <a:lstStyle/>
          <a:p>
            <a:pPr lvl="0"/>
            <a:r>
              <a:rPr lang="en-GB" noProof="0" dirty="0"/>
              <a:t>This is header 1</a:t>
            </a:r>
          </a:p>
          <a:p>
            <a:pPr lvl="1"/>
            <a:r>
              <a:rPr lang="en-GB" noProof="0" dirty="0"/>
              <a:t>This is standard text</a:t>
            </a:r>
          </a:p>
          <a:p>
            <a:pPr lvl="2"/>
            <a:r>
              <a:rPr lang="en-GB" noProof="0" dirty="0"/>
              <a:t>First bullet level</a:t>
            </a:r>
          </a:p>
          <a:p>
            <a:pPr lvl="3"/>
            <a:r>
              <a:rPr lang="en-GB" noProof="0" dirty="0"/>
              <a:t>Second bullet level</a:t>
            </a:r>
          </a:p>
          <a:p>
            <a:pPr lvl="4"/>
            <a:r>
              <a:rPr lang="en-GB" noProof="0" dirty="0"/>
              <a:t>Third bullet level</a:t>
            </a:r>
          </a:p>
          <a:p>
            <a:pPr lvl="0"/>
            <a:r>
              <a:rPr lang="en-GB" noProof="0" dirty="0"/>
              <a:t>This is header 1</a:t>
            </a:r>
          </a:p>
          <a:p>
            <a:pPr lvl="1"/>
            <a:r>
              <a:rPr lang="en-GB" noProof="0" dirty="0"/>
              <a:t>This is standard text</a:t>
            </a:r>
          </a:p>
          <a:p>
            <a:pPr lvl="2"/>
            <a:r>
              <a:rPr lang="en-GB" noProof="0" dirty="0"/>
              <a:t>First bullet level</a:t>
            </a:r>
          </a:p>
          <a:p>
            <a:pPr lvl="3"/>
            <a:r>
              <a:rPr lang="en-GB" noProof="0" dirty="0"/>
              <a:t>Second bullet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44196" y="6214035"/>
            <a:ext cx="395158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© Copyright SIDN | 2016</a:t>
            </a:r>
          </a:p>
        </p:txBody>
      </p:sp>
      <p:pic>
        <p:nvPicPr>
          <p:cNvPr id="8" name="Picture 7" descr="SIDN Labs logo.eps">
            <a:extLst>
              <a:ext uri="{FF2B5EF4-FFF2-40B4-BE49-F238E27FC236}">
                <a16:creationId xmlns:a16="http://schemas.microsoft.com/office/drawing/2014/main" xmlns="" id="{3D7AF353-3029-E04C-8C5F-C87A02B6515E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7133" y="6406093"/>
            <a:ext cx="629708" cy="309425"/>
          </a:xfrm>
          <a:prstGeom prst="rect">
            <a:avLst/>
          </a:prstGeom>
        </p:spPr>
      </p:pic>
      <p:pic>
        <p:nvPicPr>
          <p:cNvPr id="1146" name="Picture 122" descr="Visual identity &amp; downloads | Building blocks | Organization">
            <a:extLst>
              <a:ext uri="{FF2B5EF4-FFF2-40B4-BE49-F238E27FC236}">
                <a16:creationId xmlns:a16="http://schemas.microsoft.com/office/drawing/2014/main" xmlns="" id="{DFE2E1E6-CCB2-2249-922A-DECC88BE65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5626" y="6312841"/>
            <a:ext cx="991858" cy="495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Roland's Air:Users:rijswijk:Documents:SURF_NET_fc.eps">
            <a:extLst>
              <a:ext uri="{FF2B5EF4-FFF2-40B4-BE49-F238E27FC236}">
                <a16:creationId xmlns:a16="http://schemas.microsoft.com/office/drawing/2014/main" xmlns="" id="{5AEAB4C7-3A38-9242-8DD5-2AE185185BEF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1730" y="6417711"/>
            <a:ext cx="684247" cy="286189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/>
            </a:ext>
          </a:extLst>
        </p:spPr>
      </p:pic>
    </p:spTree>
    <p:extLst>
      <p:ext uri="{BB962C8B-B14F-4D97-AF65-F5344CB8AC3E}">
        <p14:creationId xmlns:p14="http://schemas.microsoft.com/office/powerpoint/2010/main" val="2306949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93" r:id="rId2"/>
    <p:sldLayoutId id="2147483692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8" r:id="rId15"/>
    <p:sldLayoutId id="2147483709" r:id="rId16"/>
    <p:sldLayoutId id="2147483710" r:id="rId17"/>
    <p:sldLayoutId id="2147483711" r:id="rId18"/>
  </p:sldLayoutIdLst>
  <p:hf sldNum="0"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332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kern="1200" baseline="0" noProof="0" dirty="0" smtClean="0">
          <a:solidFill>
            <a:srgbClr val="656565"/>
          </a:solidFill>
          <a:latin typeface="+mn-lt"/>
          <a:ea typeface="+mn-ea"/>
          <a:cs typeface="+mn-cs"/>
        </a:defRPr>
      </a:lvl1pPr>
      <a:lvl2pPr marL="0" indent="0" algn="l" defTabSz="914332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800" kern="1200" baseline="0" noProof="0" dirty="0" smtClean="0">
          <a:solidFill>
            <a:srgbClr val="656565"/>
          </a:solidFill>
          <a:latin typeface="+mn-lt"/>
          <a:ea typeface="+mn-ea"/>
          <a:cs typeface="+mn-cs"/>
        </a:defRPr>
      </a:lvl2pPr>
      <a:lvl3pPr marL="177788" indent="-177788" algn="l" defTabSz="914332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n-GB" sz="1800" kern="1200" noProof="0" dirty="0" smtClean="0">
          <a:solidFill>
            <a:srgbClr val="656565"/>
          </a:solidFill>
          <a:latin typeface="+mn-lt"/>
          <a:ea typeface="+mn-ea"/>
          <a:cs typeface="+mn-cs"/>
        </a:defRPr>
      </a:lvl3pPr>
      <a:lvl4pPr marL="355574" indent="-177788" algn="l" defTabSz="914332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n-GB" sz="1800" kern="1200" noProof="0" dirty="0" smtClean="0">
          <a:solidFill>
            <a:srgbClr val="656565"/>
          </a:solidFill>
          <a:latin typeface="+mn-lt"/>
          <a:ea typeface="+mn-ea"/>
          <a:cs typeface="+mn-cs"/>
        </a:defRPr>
      </a:lvl4pPr>
      <a:lvl5pPr marL="533360" indent="-177788" algn="l" defTabSz="914332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n-GB" sz="1800" kern="1200" baseline="0" noProof="0" dirty="0" smtClean="0">
          <a:solidFill>
            <a:srgbClr val="656565"/>
          </a:solidFill>
          <a:latin typeface="+mn-lt"/>
          <a:ea typeface="+mn-ea"/>
          <a:cs typeface="+mn-cs"/>
        </a:defRPr>
      </a:lvl5pPr>
      <a:lvl6pPr marL="0" indent="0" algn="l" defTabSz="914332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400" kern="1200">
          <a:solidFill>
            <a:srgbClr val="656565"/>
          </a:solidFill>
          <a:latin typeface="+mn-lt"/>
          <a:ea typeface="+mn-ea"/>
          <a:cs typeface="+mn-cs"/>
        </a:defRPr>
      </a:lvl6pPr>
      <a:lvl7pPr marL="0" indent="0" algn="l" defTabSz="914332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kern="1200">
          <a:solidFill>
            <a:srgbClr val="656565"/>
          </a:solidFill>
          <a:latin typeface="+mn-lt"/>
          <a:ea typeface="+mn-ea"/>
          <a:cs typeface="+mn-cs"/>
        </a:defRPr>
      </a:lvl7pPr>
      <a:lvl8pPr marL="177788" indent="-177788" algn="l" defTabSz="914332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656565"/>
          </a:solidFill>
          <a:latin typeface="+mn-lt"/>
          <a:ea typeface="+mn-ea"/>
          <a:cs typeface="+mn-cs"/>
        </a:defRPr>
      </a:lvl8pPr>
      <a:lvl9pPr marL="355574" indent="-177788" algn="l" defTabSz="914332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656565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notesSlide" Target="../notesSlides/notesSlide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hyperlink" Target="https://people.utwente.nl/a.pras" TargetMode="External"/><Relationship Id="rId3" Type="http://schemas.openxmlformats.org/officeDocument/2006/relationships/image" Target="../media/image14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5" Type="http://schemas.openxmlformats.org/officeDocument/2006/relationships/image" Target="../media/image17.png"/><Relationship Id="rId6" Type="http://schemas.openxmlformats.org/officeDocument/2006/relationships/image" Target="../media/image18.png"/><Relationship Id="rId7" Type="http://schemas.openxmlformats.org/officeDocument/2006/relationships/image" Target="../media/image19.png"/><Relationship Id="rId8" Type="http://schemas.openxmlformats.org/officeDocument/2006/relationships/image" Target="../media/image20.png"/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4" Type="http://schemas.openxmlformats.org/officeDocument/2006/relationships/image" Target="../media/image22.png"/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png"/><Relationship Id="rId5" Type="http://schemas.openxmlformats.org/officeDocument/2006/relationships/image" Target="../media/image23.png"/><Relationship Id="rId6" Type="http://schemas.openxmlformats.org/officeDocument/2006/relationships/image" Target="../media/image24.png"/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Titel 236"/>
          <p:cNvSpPr>
            <a:spLocks noGrp="1"/>
          </p:cNvSpPr>
          <p:nvPr>
            <p:ph type="title"/>
          </p:nvPr>
        </p:nvSpPr>
        <p:spPr>
          <a:xfrm>
            <a:off x="1465870" y="2988075"/>
            <a:ext cx="7056325" cy="1161488"/>
          </a:xfrm>
        </p:spPr>
        <p:txBody>
          <a:bodyPr/>
          <a:lstStyle/>
          <a:p>
            <a:pPr algn="r"/>
            <a:r>
              <a:rPr lang="en-US" sz="3200" dirty="0"/>
              <a:t>A proactive and collaborative DDoS mitigation strategy for the Dutch critical infrastructure</a:t>
            </a:r>
          </a:p>
        </p:txBody>
      </p:sp>
      <p:sp>
        <p:nvSpPr>
          <p:cNvPr id="240" name="Tijdelijke aanduiding voor verticale tekst 239"/>
          <p:cNvSpPr>
            <a:spLocks noGrp="1"/>
          </p:cNvSpPr>
          <p:nvPr>
            <p:ph type="body" orient="vert" idx="1"/>
          </p:nvPr>
        </p:nvSpPr>
        <p:spPr>
          <a:xfrm>
            <a:off x="2992582" y="4175174"/>
            <a:ext cx="5529613" cy="601738"/>
          </a:xfrm>
        </p:spPr>
        <p:txBody>
          <a:bodyPr/>
          <a:lstStyle/>
          <a:p>
            <a:pPr algn="r"/>
            <a:r>
              <a:rPr lang="nl-NL" dirty="0"/>
              <a:t>Cristian Hesselman</a:t>
            </a:r>
            <a:r>
              <a:rPr lang="nl-NL" baseline="30000" dirty="0"/>
              <a:t>1</a:t>
            </a:r>
            <a:r>
              <a:rPr lang="nl-NL" dirty="0"/>
              <a:t>, Jeroen van der Ham</a:t>
            </a:r>
            <a:r>
              <a:rPr lang="nl-NL" baseline="30000" dirty="0"/>
              <a:t>2</a:t>
            </a:r>
            <a:r>
              <a:rPr lang="nl-NL" dirty="0"/>
              <a:t>, Roland van Rijswijk</a:t>
            </a:r>
            <a:r>
              <a:rPr lang="nl-NL" baseline="30000" dirty="0"/>
              <a:t>3</a:t>
            </a:r>
            <a:r>
              <a:rPr lang="nl-NL" dirty="0"/>
              <a:t>, </a:t>
            </a:r>
            <a:r>
              <a:rPr lang="nl-NL" dirty="0" err="1"/>
              <a:t>Jair</a:t>
            </a:r>
            <a:r>
              <a:rPr lang="nl-NL" dirty="0"/>
              <a:t> Santanna</a:t>
            </a:r>
            <a:r>
              <a:rPr lang="nl-NL" baseline="30000" dirty="0"/>
              <a:t>2</a:t>
            </a:r>
            <a:r>
              <a:rPr lang="nl-NL" dirty="0"/>
              <a:t>, </a:t>
            </a:r>
            <a:r>
              <a:rPr lang="nl-NL" dirty="0" err="1"/>
              <a:t>Aiko</a:t>
            </a:r>
            <a:r>
              <a:rPr lang="nl-NL" dirty="0"/>
              <a:t> Pras</a:t>
            </a:r>
            <a:r>
              <a:rPr lang="nl-NL" baseline="30000" dirty="0"/>
              <a:t>2</a:t>
            </a:r>
            <a:endParaRPr lang="nl-NL" dirty="0"/>
          </a:p>
        </p:txBody>
      </p:sp>
      <p:sp>
        <p:nvSpPr>
          <p:cNvPr id="2" name="Tijdelijke aanduiding voor datum 1"/>
          <p:cNvSpPr>
            <a:spLocks noGrp="1"/>
          </p:cNvSpPr>
          <p:nvPr>
            <p:ph type="dt" sz="half" idx="2"/>
          </p:nvPr>
        </p:nvSpPr>
        <p:spPr>
          <a:xfrm>
            <a:off x="2992582" y="5028744"/>
            <a:ext cx="5529613" cy="730790"/>
          </a:xfrm>
        </p:spPr>
        <p:txBody>
          <a:bodyPr/>
          <a:lstStyle/>
          <a:p>
            <a:pPr marL="342900" indent="-342900" algn="r">
              <a:buAutoNum type="arabicParenR"/>
            </a:pPr>
            <a:r>
              <a:rPr lang="nl-NL" sz="1400" dirty="0" smtClean="0"/>
              <a:t>SIDN </a:t>
            </a:r>
            <a:r>
              <a:rPr lang="nl-NL" sz="1400" dirty="0"/>
              <a:t>Labs, 2) University of Twente, 3) SURFnet</a:t>
            </a:r>
          </a:p>
          <a:p>
            <a:pPr marL="342900" indent="-342900" algn="r">
              <a:buAutoNum type="arabicParenR"/>
            </a:pPr>
            <a:endParaRPr lang="nl-NL" sz="1400" dirty="0"/>
          </a:p>
        </p:txBody>
      </p:sp>
    </p:spTree>
    <p:extLst>
      <p:ext uri="{BB962C8B-B14F-4D97-AF65-F5344CB8AC3E}">
        <p14:creationId xmlns:p14="http://schemas.microsoft.com/office/powerpoint/2010/main" val="118440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nger-term</a:t>
            </a:r>
            <a:endParaRPr lang="en-US" sz="900" dirty="0"/>
          </a:p>
        </p:txBody>
      </p:sp>
      <p:sp>
        <p:nvSpPr>
          <p:cNvPr id="5" name="Tijdelijke aanduiding voor verticale tekst 4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lvl="2"/>
            <a:r>
              <a:rPr lang="en-US" dirty="0">
                <a:solidFill>
                  <a:srgbClr val="626465"/>
                </a:solidFill>
              </a:rPr>
              <a:t>Pilot part of an EU cybersecurity research </a:t>
            </a:r>
            <a:r>
              <a:rPr lang="en-US">
                <a:solidFill>
                  <a:srgbClr val="626465"/>
                </a:solidFill>
              </a:rPr>
              <a:t>project </a:t>
            </a:r>
            <a:r>
              <a:rPr lang="en-US" smtClean="0">
                <a:solidFill>
                  <a:srgbClr val="626465"/>
                </a:solidFill>
              </a:rPr>
              <a:t>(CONCORDIA) </a:t>
            </a:r>
            <a:r>
              <a:rPr lang="en-US" dirty="0">
                <a:solidFill>
                  <a:srgbClr val="626465"/>
                </a:solidFill>
              </a:rPr>
              <a:t>+ development of a blueprint “business plan” to sustainably run (national) DDoS radars</a:t>
            </a:r>
          </a:p>
          <a:p>
            <a:pPr lvl="2"/>
            <a:endParaRPr lang="en-US" dirty="0">
              <a:solidFill>
                <a:srgbClr val="626465"/>
              </a:solidFill>
            </a:endParaRPr>
          </a:p>
          <a:p>
            <a:pPr lvl="2"/>
            <a:r>
              <a:rPr lang="en-US" dirty="0">
                <a:solidFill>
                  <a:srgbClr val="626465"/>
                </a:solidFill>
              </a:rPr>
              <a:t>Envisioned growth path: (1) Netherlands </a:t>
            </a:r>
            <a:r>
              <a:rPr lang="en-US" dirty="0">
                <a:solidFill>
                  <a:srgbClr val="626465"/>
                </a:solidFill>
                <a:sym typeface="Wingdings" pitchFamily="2" charset="2"/>
              </a:rPr>
              <a:t></a:t>
            </a:r>
            <a:r>
              <a:rPr lang="en-US" dirty="0">
                <a:solidFill>
                  <a:srgbClr val="626465"/>
                </a:solidFill>
              </a:rPr>
              <a:t> Europe </a:t>
            </a:r>
            <a:r>
              <a:rPr lang="en-US" dirty="0">
                <a:solidFill>
                  <a:srgbClr val="626465"/>
                </a:solidFill>
                <a:sym typeface="Wingdings" pitchFamily="2" charset="2"/>
              </a:rPr>
              <a:t></a:t>
            </a:r>
            <a:r>
              <a:rPr lang="en-US" dirty="0">
                <a:solidFill>
                  <a:srgbClr val="626465"/>
                </a:solidFill>
              </a:rPr>
              <a:t> global and (2) extend to “non-critical” service providers </a:t>
            </a:r>
          </a:p>
        </p:txBody>
      </p:sp>
    </p:spTree>
    <p:extLst>
      <p:ext uri="{BB962C8B-B14F-4D97-AF65-F5344CB8AC3E}">
        <p14:creationId xmlns:p14="http://schemas.microsoft.com/office/powerpoint/2010/main" val="4257460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7594" y="2383164"/>
            <a:ext cx="5192212" cy="1161488"/>
          </a:xfrm>
        </p:spPr>
        <p:txBody>
          <a:bodyPr/>
          <a:lstStyle/>
          <a:p>
            <a:r>
              <a:rPr lang="nl-NL" dirty="0"/>
              <a:t>Q&amp;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3364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iko Pras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en-US" dirty="0" smtClean="0"/>
              <a:t>Prof. Internet Security</a:t>
            </a:r>
          </a:p>
          <a:p>
            <a:r>
              <a:rPr lang="en-US" dirty="0" smtClean="0"/>
              <a:t>University of Twente</a:t>
            </a:r>
          </a:p>
          <a:p>
            <a:r>
              <a:rPr lang="en-US" dirty="0" smtClean="0"/>
              <a:t>The Netherlands</a:t>
            </a:r>
          </a:p>
          <a:p>
            <a:r>
              <a:rPr lang="en-US" dirty="0">
                <a:hlinkClick r:id="rId2"/>
              </a:rPr>
              <a:t>https://people.utwente.nl/</a:t>
            </a:r>
            <a:r>
              <a:rPr lang="en-US" dirty="0" smtClean="0">
                <a:hlinkClick r:id="rId2"/>
              </a:rPr>
              <a:t>a.pras</a:t>
            </a:r>
            <a:endParaRPr lang="en-US" dirty="0" smtClean="0"/>
          </a:p>
          <a:p>
            <a:endParaRPr lang="en-US" dirty="0"/>
          </a:p>
        </p:txBody>
      </p:sp>
      <p:pic>
        <p:nvPicPr>
          <p:cNvPr id="6" name="Picture Placeholder 5" descr="2015-aiko-new1.jpg"/>
          <p:cNvPicPr>
            <a:picLocks noGrp="1" noChangeAspect="1"/>
          </p:cNvPicPr>
          <p:nvPr>
            <p:ph type="pic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79" b="557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371495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DDoS attacks (on the DNS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864CDF45-89F5-8849-B183-A81E928D39F4}"/>
              </a:ext>
            </a:extLst>
          </p:cNvPr>
          <p:cNvSpPr txBox="1"/>
          <p:nvPr/>
        </p:nvSpPr>
        <p:spPr>
          <a:xfrm>
            <a:off x="0" y="6448778"/>
            <a:ext cx="58740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3E3E3E"/>
                </a:solidFill>
                <a:cs typeface="Calibri"/>
              </a:rPr>
              <a:t>https://</a:t>
            </a:r>
            <a:r>
              <a:rPr lang="en-US" sz="1000" dirty="0" err="1">
                <a:solidFill>
                  <a:srgbClr val="3E3E3E"/>
                </a:solidFill>
                <a:cs typeface="Calibri"/>
              </a:rPr>
              <a:t>en.wikipedia.org</a:t>
            </a:r>
            <a:r>
              <a:rPr lang="en-US" sz="1000" dirty="0">
                <a:solidFill>
                  <a:srgbClr val="3E3E3E"/>
                </a:solidFill>
                <a:cs typeface="Calibri"/>
              </a:rPr>
              <a:t>/wiki/2016_Dyn_cyberattack</a:t>
            </a:r>
          </a:p>
          <a:p>
            <a:r>
              <a:rPr lang="en-US" sz="1000" dirty="0">
                <a:solidFill>
                  <a:srgbClr val="3E3E3E"/>
                </a:solidFill>
                <a:cs typeface="Calibri"/>
              </a:rPr>
              <a:t>https://</a:t>
            </a:r>
            <a:r>
              <a:rPr lang="en-US" sz="1000" dirty="0" err="1">
                <a:solidFill>
                  <a:srgbClr val="3E3E3E"/>
                </a:solidFill>
                <a:cs typeface="Calibri"/>
              </a:rPr>
              <a:t>www.zdnet.com</a:t>
            </a:r>
            <a:r>
              <a:rPr lang="en-US" sz="1000" dirty="0">
                <a:solidFill>
                  <a:srgbClr val="3E3E3E"/>
                </a:solidFill>
                <a:cs typeface="Calibri"/>
              </a:rPr>
              <a:t>/article/</a:t>
            </a:r>
            <a:r>
              <a:rPr lang="en-US" sz="1000" dirty="0" err="1">
                <a:solidFill>
                  <a:srgbClr val="3E3E3E"/>
                </a:solidFill>
                <a:cs typeface="Calibri"/>
              </a:rPr>
              <a:t>mirai</a:t>
            </a:r>
            <a:r>
              <a:rPr lang="en-US" sz="1000" dirty="0">
                <a:solidFill>
                  <a:srgbClr val="3E3E3E"/>
                </a:solidFill>
                <a:cs typeface="Calibri"/>
              </a:rPr>
              <a:t>-botnet-attack-briefly-knocked-an-entire-country-offline/ 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131A8469-9408-A949-81A0-305D2CF55F0C}"/>
              </a:ext>
            </a:extLst>
          </p:cNvPr>
          <p:cNvCxnSpPr>
            <a:cxnSpLocks/>
          </p:cNvCxnSpPr>
          <p:nvPr/>
        </p:nvCxnSpPr>
        <p:spPr>
          <a:xfrm rot="18000000" flipH="1" flipV="1">
            <a:off x="3824122" y="4234854"/>
            <a:ext cx="129644" cy="900000"/>
          </a:xfrm>
          <a:prstGeom prst="line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A1B59AD2-1A8E-2540-ACDA-C59E7B071E3B}"/>
              </a:ext>
            </a:extLst>
          </p:cNvPr>
          <p:cNvCxnSpPr>
            <a:cxnSpLocks/>
          </p:cNvCxnSpPr>
          <p:nvPr/>
        </p:nvCxnSpPr>
        <p:spPr>
          <a:xfrm flipH="1" flipV="1">
            <a:off x="4315482" y="4847788"/>
            <a:ext cx="0" cy="540000"/>
          </a:xfrm>
          <a:prstGeom prst="line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3596E7BA-4D60-ED4F-BB92-7F69C95FDBA7}"/>
              </a:ext>
            </a:extLst>
          </p:cNvPr>
          <p:cNvCxnSpPr>
            <a:cxnSpLocks/>
          </p:cNvCxnSpPr>
          <p:nvPr/>
        </p:nvCxnSpPr>
        <p:spPr>
          <a:xfrm rot="-7200000" flipH="1" flipV="1">
            <a:off x="4544894" y="4451027"/>
            <a:ext cx="0" cy="540000"/>
          </a:xfrm>
          <a:prstGeom prst="line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223A04E8-A41C-CD41-8BFF-C3A1A764026F}"/>
              </a:ext>
            </a:extLst>
          </p:cNvPr>
          <p:cNvSpPr>
            <a:spLocks noChangeAspect="1"/>
          </p:cNvSpPr>
          <p:nvPr/>
        </p:nvSpPr>
        <p:spPr>
          <a:xfrm>
            <a:off x="4651358" y="4469838"/>
            <a:ext cx="256851" cy="23098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9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617AE1C6-4E05-D142-B175-723B2D050C75}"/>
              </a:ext>
            </a:extLst>
          </p:cNvPr>
          <p:cNvSpPr>
            <a:spLocks noChangeAspect="1"/>
          </p:cNvSpPr>
          <p:nvPr/>
        </p:nvSpPr>
        <p:spPr>
          <a:xfrm>
            <a:off x="4186687" y="5257232"/>
            <a:ext cx="256851" cy="23098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8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672696F1-F4D1-E740-A2B7-508381E66FA2}"/>
              </a:ext>
            </a:extLst>
          </p:cNvPr>
          <p:cNvSpPr>
            <a:spLocks noChangeAspect="1"/>
          </p:cNvSpPr>
          <p:nvPr/>
        </p:nvSpPr>
        <p:spPr>
          <a:xfrm>
            <a:off x="4078333" y="4632837"/>
            <a:ext cx="478044" cy="429903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N4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37EC14F9-7E4E-9D40-BEA5-4A66ECD7305F}"/>
              </a:ext>
            </a:extLst>
          </p:cNvPr>
          <p:cNvCxnSpPr>
            <a:cxnSpLocks/>
          </p:cNvCxnSpPr>
          <p:nvPr/>
        </p:nvCxnSpPr>
        <p:spPr>
          <a:xfrm flipH="1" flipV="1">
            <a:off x="1995591" y="2328169"/>
            <a:ext cx="129644" cy="900000"/>
          </a:xfrm>
          <a:prstGeom prst="line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xmlns="" id="{8C6828A7-0481-0049-AF5C-A1506B34F7B2}"/>
              </a:ext>
            </a:extLst>
          </p:cNvPr>
          <p:cNvCxnSpPr>
            <a:cxnSpLocks/>
          </p:cNvCxnSpPr>
          <p:nvPr/>
        </p:nvCxnSpPr>
        <p:spPr>
          <a:xfrm rot="6600000" flipH="1" flipV="1">
            <a:off x="1739789" y="1966941"/>
            <a:ext cx="0" cy="540000"/>
          </a:xfrm>
          <a:prstGeom prst="line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E4728132-9D5E-814C-A17B-C2CD9A0ECDA1}"/>
              </a:ext>
            </a:extLst>
          </p:cNvPr>
          <p:cNvCxnSpPr>
            <a:cxnSpLocks/>
          </p:cNvCxnSpPr>
          <p:nvPr/>
        </p:nvCxnSpPr>
        <p:spPr>
          <a:xfrm rot="12000000" flipH="1" flipV="1">
            <a:off x="2092065" y="1806244"/>
            <a:ext cx="0" cy="540000"/>
          </a:xfrm>
          <a:prstGeom prst="line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CD797D30-0157-F648-81FA-CAB1D4ED9630}"/>
              </a:ext>
            </a:extLst>
          </p:cNvPr>
          <p:cNvCxnSpPr>
            <a:cxnSpLocks/>
          </p:cNvCxnSpPr>
          <p:nvPr/>
        </p:nvCxnSpPr>
        <p:spPr>
          <a:xfrm flipH="1" flipV="1">
            <a:off x="1407057" y="3781003"/>
            <a:ext cx="0" cy="540000"/>
          </a:xfrm>
          <a:prstGeom prst="line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xmlns="" id="{98F71389-765B-8845-B7A7-B44D4FB32EE9}"/>
              </a:ext>
            </a:extLst>
          </p:cNvPr>
          <p:cNvCxnSpPr>
            <a:cxnSpLocks/>
          </p:cNvCxnSpPr>
          <p:nvPr/>
        </p:nvCxnSpPr>
        <p:spPr>
          <a:xfrm rot="18000000" flipH="1" flipV="1">
            <a:off x="1640033" y="2603058"/>
            <a:ext cx="129644" cy="900000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xmlns="" id="{AE1BF6C4-4467-DA4C-9CB7-3A22818DA046}"/>
              </a:ext>
            </a:extLst>
          </p:cNvPr>
          <p:cNvCxnSpPr>
            <a:cxnSpLocks/>
          </p:cNvCxnSpPr>
          <p:nvPr/>
        </p:nvCxnSpPr>
        <p:spPr>
          <a:xfrm rot="14400000" flipH="1" flipV="1">
            <a:off x="1697265" y="3051851"/>
            <a:ext cx="129644" cy="900000"/>
          </a:xfrm>
          <a:prstGeom prst="line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xmlns="" id="{2CB02A43-FFDD-A14C-926F-CBF1A9EB3DD1}"/>
              </a:ext>
            </a:extLst>
          </p:cNvPr>
          <p:cNvCxnSpPr>
            <a:cxnSpLocks/>
          </p:cNvCxnSpPr>
          <p:nvPr/>
        </p:nvCxnSpPr>
        <p:spPr>
          <a:xfrm rot="3600000" flipH="1" flipV="1">
            <a:off x="1173229" y="3640486"/>
            <a:ext cx="0" cy="540000"/>
          </a:xfrm>
          <a:prstGeom prst="line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xmlns="" id="{75F19EEA-C1E9-C84C-988F-4ABAB29E8DD8}"/>
              </a:ext>
            </a:extLst>
          </p:cNvPr>
          <p:cNvCxnSpPr>
            <a:cxnSpLocks/>
          </p:cNvCxnSpPr>
          <p:nvPr/>
        </p:nvCxnSpPr>
        <p:spPr>
          <a:xfrm rot="7200000" flipH="1" flipV="1">
            <a:off x="1169604" y="3375472"/>
            <a:ext cx="0" cy="540000"/>
          </a:xfrm>
          <a:prstGeom prst="line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xmlns="" id="{D9BA511C-B390-8F49-85EA-447D1C08DB0C}"/>
              </a:ext>
            </a:extLst>
          </p:cNvPr>
          <p:cNvCxnSpPr>
            <a:cxnSpLocks/>
          </p:cNvCxnSpPr>
          <p:nvPr/>
        </p:nvCxnSpPr>
        <p:spPr>
          <a:xfrm rot="4800000" flipH="1" flipV="1">
            <a:off x="1016734" y="2664463"/>
            <a:ext cx="0" cy="540000"/>
          </a:xfrm>
          <a:prstGeom prst="line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xmlns="" id="{19786142-A075-D745-8577-E7A4B6F129E1}"/>
              </a:ext>
            </a:extLst>
          </p:cNvPr>
          <p:cNvCxnSpPr>
            <a:cxnSpLocks/>
          </p:cNvCxnSpPr>
          <p:nvPr/>
        </p:nvCxnSpPr>
        <p:spPr>
          <a:xfrm rot="9000000" flipH="1" flipV="1">
            <a:off x="1154293" y="2379563"/>
            <a:ext cx="0" cy="540000"/>
          </a:xfrm>
          <a:prstGeom prst="line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3DA841AE-3C77-FC4A-B5E0-04B1286534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9651" y="4810999"/>
            <a:ext cx="247495" cy="247495"/>
          </a:xfrm>
          <a:prstGeom prst="rect">
            <a:avLst/>
          </a:prstGeom>
        </p:spPr>
      </p:pic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xmlns="" id="{7ACC2336-8F50-2748-886A-5C4D17E654E7}"/>
              </a:ext>
            </a:extLst>
          </p:cNvPr>
          <p:cNvCxnSpPr>
            <a:cxnSpLocks/>
          </p:cNvCxnSpPr>
          <p:nvPr/>
        </p:nvCxnSpPr>
        <p:spPr>
          <a:xfrm rot="2700000" flipV="1">
            <a:off x="3539098" y="2576980"/>
            <a:ext cx="0" cy="1080000"/>
          </a:xfrm>
          <a:prstGeom prst="line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xmlns="" id="{77A9BDB9-C8E7-644D-A789-8D5346E93FFD}"/>
              </a:ext>
            </a:extLst>
          </p:cNvPr>
          <p:cNvCxnSpPr>
            <a:cxnSpLocks/>
          </p:cNvCxnSpPr>
          <p:nvPr/>
        </p:nvCxnSpPr>
        <p:spPr>
          <a:xfrm rot="9900000" flipV="1">
            <a:off x="3297907" y="3472226"/>
            <a:ext cx="0" cy="1080000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xmlns="" id="{EFFEF696-658D-8B49-A9FF-7280CE743FAF}"/>
              </a:ext>
            </a:extLst>
          </p:cNvPr>
          <p:cNvCxnSpPr>
            <a:cxnSpLocks/>
          </p:cNvCxnSpPr>
          <p:nvPr/>
        </p:nvCxnSpPr>
        <p:spPr>
          <a:xfrm rot="17100000" flipV="1">
            <a:off x="2642528" y="2819801"/>
            <a:ext cx="0" cy="1080000"/>
          </a:xfrm>
          <a:prstGeom prst="line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xmlns="" id="{C0F26221-3EA3-4F46-81CE-C46D847E41CF}"/>
              </a:ext>
            </a:extLst>
          </p:cNvPr>
          <p:cNvCxnSpPr>
            <a:cxnSpLocks/>
            <a:endCxn id="36" idx="3"/>
          </p:cNvCxnSpPr>
          <p:nvPr/>
        </p:nvCxnSpPr>
        <p:spPr>
          <a:xfrm flipH="1">
            <a:off x="2617307" y="4521921"/>
            <a:ext cx="841602" cy="289044"/>
          </a:xfrm>
          <a:prstGeom prst="line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35">
            <a:extLst>
              <a:ext uri="{FF2B5EF4-FFF2-40B4-BE49-F238E27FC236}">
                <a16:creationId xmlns:a16="http://schemas.microsoft.com/office/drawing/2014/main" xmlns="" id="{789365F1-F505-7344-9C06-FC35F334E8D7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7496" y="4665445"/>
            <a:ext cx="189811" cy="291040"/>
          </a:xfrm>
          <a:prstGeom prst="rect">
            <a:avLst/>
          </a:prstGeom>
        </p:spPr>
      </p:pic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xmlns="" id="{2FE021DF-F10A-D64A-93C0-5935F9055FC9}"/>
              </a:ext>
            </a:extLst>
          </p:cNvPr>
          <p:cNvCxnSpPr>
            <a:cxnSpLocks/>
          </p:cNvCxnSpPr>
          <p:nvPr/>
        </p:nvCxnSpPr>
        <p:spPr>
          <a:xfrm rot="14400000" flipH="1" flipV="1">
            <a:off x="4224113" y="2004563"/>
            <a:ext cx="129644" cy="900000"/>
          </a:xfrm>
          <a:prstGeom prst="line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8" name="Picture 37">
            <a:extLst>
              <a:ext uri="{FF2B5EF4-FFF2-40B4-BE49-F238E27FC236}">
                <a16:creationId xmlns:a16="http://schemas.microsoft.com/office/drawing/2014/main" xmlns="" id="{6FDD5550-C0A0-E042-8C2D-AEF47D9E7B3F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43670" y="2032316"/>
            <a:ext cx="189811" cy="29104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xmlns="" id="{705EB547-0A15-D041-95BB-F13B92390FCA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689142" y="3102615"/>
            <a:ext cx="947462" cy="789552"/>
          </a:xfrm>
          <a:prstGeom prst="rect">
            <a:avLst/>
          </a:prstGeom>
        </p:spPr>
      </p:pic>
      <p:sp>
        <p:nvSpPr>
          <p:cNvPr id="40" name="Oval 39">
            <a:extLst>
              <a:ext uri="{FF2B5EF4-FFF2-40B4-BE49-F238E27FC236}">
                <a16:creationId xmlns:a16="http://schemas.microsoft.com/office/drawing/2014/main" xmlns="" id="{44D6B481-B6DD-5B4E-89EB-E75FE6E5A5F5}"/>
              </a:ext>
            </a:extLst>
          </p:cNvPr>
          <p:cNvSpPr>
            <a:spLocks noChangeAspect="1"/>
          </p:cNvSpPr>
          <p:nvPr/>
        </p:nvSpPr>
        <p:spPr>
          <a:xfrm>
            <a:off x="3567432" y="2405794"/>
            <a:ext cx="730799" cy="657204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SP3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xmlns="" id="{1500829C-7CEA-0942-B565-0E9586CF6110}"/>
              </a:ext>
            </a:extLst>
          </p:cNvPr>
          <p:cNvSpPr>
            <a:spLocks noChangeAspect="1"/>
          </p:cNvSpPr>
          <p:nvPr/>
        </p:nvSpPr>
        <p:spPr>
          <a:xfrm>
            <a:off x="1044543" y="2672712"/>
            <a:ext cx="478044" cy="429903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N2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643DC34A-7B07-DD4A-8088-890C1C73F268}"/>
              </a:ext>
            </a:extLst>
          </p:cNvPr>
          <p:cNvSpPr txBox="1"/>
          <p:nvPr/>
        </p:nvSpPr>
        <p:spPr>
          <a:xfrm>
            <a:off x="2823967" y="3374281"/>
            <a:ext cx="6778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SP4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xmlns="" id="{3EBE52AB-3726-5D47-A5C6-93F5651E33AA}"/>
              </a:ext>
            </a:extLst>
          </p:cNvPr>
          <p:cNvSpPr>
            <a:spLocks noChangeAspect="1"/>
          </p:cNvSpPr>
          <p:nvPr/>
        </p:nvSpPr>
        <p:spPr>
          <a:xfrm>
            <a:off x="1761336" y="2900396"/>
            <a:ext cx="730799" cy="657204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SP1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xmlns="" id="{2374C760-6C48-4A48-8913-C6483B65F087}"/>
              </a:ext>
            </a:extLst>
          </p:cNvPr>
          <p:cNvSpPr>
            <a:spLocks noChangeAspect="1"/>
          </p:cNvSpPr>
          <p:nvPr/>
        </p:nvSpPr>
        <p:spPr>
          <a:xfrm>
            <a:off x="1756569" y="2108405"/>
            <a:ext cx="478044" cy="429903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N1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xmlns="" id="{44B5E34B-6319-1946-B81D-553A669A739B}"/>
              </a:ext>
            </a:extLst>
          </p:cNvPr>
          <p:cNvSpPr>
            <a:spLocks noChangeAspect="1"/>
          </p:cNvSpPr>
          <p:nvPr/>
        </p:nvSpPr>
        <p:spPr>
          <a:xfrm>
            <a:off x="1168034" y="3557600"/>
            <a:ext cx="478044" cy="429903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N3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xmlns="" id="{49A47A48-7A62-3142-AFB5-6906B22A1146}"/>
              </a:ext>
            </a:extLst>
          </p:cNvPr>
          <p:cNvSpPr>
            <a:spLocks noChangeAspect="1"/>
          </p:cNvSpPr>
          <p:nvPr/>
        </p:nvSpPr>
        <p:spPr>
          <a:xfrm>
            <a:off x="3079499" y="4190585"/>
            <a:ext cx="730799" cy="657204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SP2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E98E32D5-5476-9A41-81A2-78F972652078}"/>
              </a:ext>
            </a:extLst>
          </p:cNvPr>
          <p:cNvSpPr txBox="1"/>
          <p:nvPr/>
        </p:nvSpPr>
        <p:spPr>
          <a:xfrm>
            <a:off x="4808106" y="2108405"/>
            <a:ext cx="68781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NS server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xmlns="" id="{468EC7E6-FCF4-FA4B-9DD4-1A3BD18E217B}"/>
              </a:ext>
            </a:extLst>
          </p:cNvPr>
          <p:cNvSpPr>
            <a:spLocks noChangeAspect="1"/>
          </p:cNvSpPr>
          <p:nvPr/>
        </p:nvSpPr>
        <p:spPr>
          <a:xfrm>
            <a:off x="795925" y="3388750"/>
            <a:ext cx="256851" cy="23098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5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xmlns="" id="{DD104DDE-98B1-CB47-8B4F-9F8D6B253182}"/>
              </a:ext>
            </a:extLst>
          </p:cNvPr>
          <p:cNvSpPr>
            <a:spLocks noChangeAspect="1"/>
          </p:cNvSpPr>
          <p:nvPr/>
        </p:nvSpPr>
        <p:spPr>
          <a:xfrm>
            <a:off x="1279623" y="4205510"/>
            <a:ext cx="256851" cy="23098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7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xmlns="" id="{FEAB7638-3B58-804C-979F-19278A59EA6E}"/>
              </a:ext>
            </a:extLst>
          </p:cNvPr>
          <p:cNvSpPr>
            <a:spLocks noChangeAspect="1"/>
          </p:cNvSpPr>
          <p:nvPr/>
        </p:nvSpPr>
        <p:spPr>
          <a:xfrm>
            <a:off x="616772" y="2867600"/>
            <a:ext cx="256851" cy="23098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4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xmlns="" id="{38523165-E2F2-DE49-97D8-093E3BCC9A88}"/>
              </a:ext>
            </a:extLst>
          </p:cNvPr>
          <p:cNvSpPr>
            <a:spLocks noChangeAspect="1"/>
          </p:cNvSpPr>
          <p:nvPr/>
        </p:nvSpPr>
        <p:spPr>
          <a:xfrm>
            <a:off x="2055784" y="1704581"/>
            <a:ext cx="256851" cy="23098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1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xmlns="" id="{E281BEE0-1261-424A-B30A-58FA34BE7FC2}"/>
              </a:ext>
            </a:extLst>
          </p:cNvPr>
          <p:cNvSpPr>
            <a:spLocks noChangeAspect="1"/>
          </p:cNvSpPr>
          <p:nvPr/>
        </p:nvSpPr>
        <p:spPr>
          <a:xfrm>
            <a:off x="1339964" y="2029102"/>
            <a:ext cx="256851" cy="23098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2</a:t>
            </a:r>
          </a:p>
        </p:txBody>
      </p:sp>
      <p:sp>
        <p:nvSpPr>
          <p:cNvPr id="54" name="Freeform 53">
            <a:extLst>
              <a:ext uri="{FF2B5EF4-FFF2-40B4-BE49-F238E27FC236}">
                <a16:creationId xmlns:a16="http://schemas.microsoft.com/office/drawing/2014/main" xmlns="" id="{1CD558D8-BA4A-784C-97D8-6684559EA234}"/>
              </a:ext>
            </a:extLst>
          </p:cNvPr>
          <p:cNvSpPr/>
          <p:nvPr/>
        </p:nvSpPr>
        <p:spPr>
          <a:xfrm>
            <a:off x="1088485" y="2200275"/>
            <a:ext cx="3457575" cy="1158826"/>
          </a:xfrm>
          <a:custGeom>
            <a:avLst/>
            <a:gdLst>
              <a:gd name="connsiteX0" fmla="*/ 0 w 3457575"/>
              <a:gd name="connsiteY0" fmla="*/ 242888 h 1158826"/>
              <a:gd name="connsiteX1" fmla="*/ 178594 w 3457575"/>
              <a:gd name="connsiteY1" fmla="*/ 542925 h 1158826"/>
              <a:gd name="connsiteX2" fmla="*/ 378619 w 3457575"/>
              <a:gd name="connsiteY2" fmla="*/ 707231 h 1158826"/>
              <a:gd name="connsiteX3" fmla="*/ 792956 w 3457575"/>
              <a:gd name="connsiteY3" fmla="*/ 871538 h 1158826"/>
              <a:gd name="connsiteX4" fmla="*/ 985838 w 3457575"/>
              <a:gd name="connsiteY4" fmla="*/ 814388 h 1158826"/>
              <a:gd name="connsiteX5" fmla="*/ 1243013 w 3457575"/>
              <a:gd name="connsiteY5" fmla="*/ 857250 h 1158826"/>
              <a:gd name="connsiteX6" fmla="*/ 1735931 w 3457575"/>
              <a:gd name="connsiteY6" fmla="*/ 1150144 h 1158826"/>
              <a:gd name="connsiteX7" fmla="*/ 1978819 w 3457575"/>
              <a:gd name="connsiteY7" fmla="*/ 1078706 h 1158826"/>
              <a:gd name="connsiteX8" fmla="*/ 2157413 w 3457575"/>
              <a:gd name="connsiteY8" fmla="*/ 1050131 h 1158826"/>
              <a:gd name="connsiteX9" fmla="*/ 2600325 w 3457575"/>
              <a:gd name="connsiteY9" fmla="*/ 671513 h 1158826"/>
              <a:gd name="connsiteX10" fmla="*/ 2643188 w 3457575"/>
              <a:gd name="connsiteY10" fmla="*/ 400050 h 1158826"/>
              <a:gd name="connsiteX11" fmla="*/ 2921794 w 3457575"/>
              <a:gd name="connsiteY11" fmla="*/ 307181 h 1158826"/>
              <a:gd name="connsiteX12" fmla="*/ 3457575 w 3457575"/>
              <a:gd name="connsiteY12" fmla="*/ 0 h 115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57575" h="1158826">
                <a:moveTo>
                  <a:pt x="0" y="242888"/>
                </a:moveTo>
                <a:cubicBezTo>
                  <a:pt x="57745" y="354211"/>
                  <a:pt x="115491" y="465535"/>
                  <a:pt x="178594" y="542925"/>
                </a:cubicBezTo>
                <a:cubicBezTo>
                  <a:pt x="241697" y="620315"/>
                  <a:pt x="276225" y="652462"/>
                  <a:pt x="378619" y="707231"/>
                </a:cubicBezTo>
                <a:cubicBezTo>
                  <a:pt x="481013" y="762000"/>
                  <a:pt x="691753" y="853679"/>
                  <a:pt x="792956" y="871538"/>
                </a:cubicBezTo>
                <a:cubicBezTo>
                  <a:pt x="894159" y="889397"/>
                  <a:pt x="910829" y="816769"/>
                  <a:pt x="985838" y="814388"/>
                </a:cubicBezTo>
                <a:cubicBezTo>
                  <a:pt x="1060847" y="812007"/>
                  <a:pt x="1117998" y="801291"/>
                  <a:pt x="1243013" y="857250"/>
                </a:cubicBezTo>
                <a:cubicBezTo>
                  <a:pt x="1368028" y="913209"/>
                  <a:pt x="1613297" y="1113235"/>
                  <a:pt x="1735931" y="1150144"/>
                </a:cubicBezTo>
                <a:cubicBezTo>
                  <a:pt x="1858565" y="1187053"/>
                  <a:pt x="1908572" y="1095375"/>
                  <a:pt x="1978819" y="1078706"/>
                </a:cubicBezTo>
                <a:cubicBezTo>
                  <a:pt x="2049066" y="1062037"/>
                  <a:pt x="2053829" y="1117997"/>
                  <a:pt x="2157413" y="1050131"/>
                </a:cubicBezTo>
                <a:cubicBezTo>
                  <a:pt x="2260997" y="982266"/>
                  <a:pt x="2519363" y="779860"/>
                  <a:pt x="2600325" y="671513"/>
                </a:cubicBezTo>
                <a:cubicBezTo>
                  <a:pt x="2681287" y="563166"/>
                  <a:pt x="2589610" y="460772"/>
                  <a:pt x="2643188" y="400050"/>
                </a:cubicBezTo>
                <a:cubicBezTo>
                  <a:pt x="2696766" y="339328"/>
                  <a:pt x="2786063" y="373856"/>
                  <a:pt x="2921794" y="307181"/>
                </a:cubicBezTo>
                <a:cubicBezTo>
                  <a:pt x="3057525" y="240506"/>
                  <a:pt x="3257550" y="120253"/>
                  <a:pt x="3457575" y="0"/>
                </a:cubicBezTo>
              </a:path>
            </a:pathLst>
          </a:custGeom>
          <a:noFill/>
          <a:ln w="254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xmlns="" id="{C9DC3485-9E01-C740-B66B-749B7A31FC7D}"/>
              </a:ext>
            </a:extLst>
          </p:cNvPr>
          <p:cNvSpPr>
            <a:spLocks noChangeAspect="1"/>
          </p:cNvSpPr>
          <p:nvPr/>
        </p:nvSpPr>
        <p:spPr>
          <a:xfrm>
            <a:off x="888308" y="2299886"/>
            <a:ext cx="256851" cy="230985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254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D3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xmlns="" id="{23F17F3B-D30D-AC47-A7B3-674926912610}"/>
              </a:ext>
            </a:extLst>
          </p:cNvPr>
          <p:cNvSpPr>
            <a:spLocks noChangeAspect="1"/>
          </p:cNvSpPr>
          <p:nvPr/>
        </p:nvSpPr>
        <p:spPr>
          <a:xfrm>
            <a:off x="800586" y="3930623"/>
            <a:ext cx="256851" cy="230985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6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D971D237-E5E9-9D45-B38F-29B635500FE6}"/>
              </a:ext>
            </a:extLst>
          </p:cNvPr>
          <p:cNvSpPr txBox="1"/>
          <p:nvPr/>
        </p:nvSpPr>
        <p:spPr>
          <a:xfrm>
            <a:off x="2227456" y="4972647"/>
            <a:ext cx="58384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ooter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58" name="Straight Connector 199">
            <a:extLst>
              <a:ext uri="{FF2B5EF4-FFF2-40B4-BE49-F238E27FC236}">
                <a16:creationId xmlns:a16="http://schemas.microsoft.com/office/drawing/2014/main" xmlns="" id="{AE684133-FABE-E644-9B8C-A8E646272000}"/>
              </a:ext>
            </a:extLst>
          </p:cNvPr>
          <p:cNvCxnSpPr>
            <a:cxnSpLocks/>
          </p:cNvCxnSpPr>
          <p:nvPr/>
        </p:nvCxnSpPr>
        <p:spPr>
          <a:xfrm>
            <a:off x="658803" y="5308275"/>
            <a:ext cx="214820" cy="0"/>
          </a:xfrm>
          <a:prstGeom prst="straightConnector1">
            <a:avLst/>
          </a:prstGeom>
          <a:ln w="12700">
            <a:solidFill>
              <a:schemeClr val="bg2"/>
            </a:solidFill>
            <a:prstDash val="sysDot"/>
            <a:headEnd type="triangl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199">
            <a:extLst>
              <a:ext uri="{FF2B5EF4-FFF2-40B4-BE49-F238E27FC236}">
                <a16:creationId xmlns:a16="http://schemas.microsoft.com/office/drawing/2014/main" xmlns="" id="{6EDDB22F-A9AA-0B44-8B28-593D125DDB60}"/>
              </a:ext>
            </a:extLst>
          </p:cNvPr>
          <p:cNvCxnSpPr>
            <a:cxnSpLocks/>
          </p:cNvCxnSpPr>
          <p:nvPr/>
        </p:nvCxnSpPr>
        <p:spPr>
          <a:xfrm>
            <a:off x="658803" y="5491859"/>
            <a:ext cx="214820" cy="0"/>
          </a:xfrm>
          <a:prstGeom prst="straightConnector1">
            <a:avLst/>
          </a:prstGeom>
          <a:ln w="25400">
            <a:solidFill>
              <a:schemeClr val="bg2"/>
            </a:solidFill>
            <a:prstDash val="solid"/>
            <a:headEnd type="triangl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CCBC39BA-D7E3-C844-95C2-96F59A2962F9}"/>
              </a:ext>
            </a:extLst>
          </p:cNvPr>
          <p:cNvSpPr txBox="1"/>
          <p:nvPr/>
        </p:nvSpPr>
        <p:spPr>
          <a:xfrm>
            <a:off x="961664" y="5227652"/>
            <a:ext cx="136110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ntrol command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2FA4594F-F9BE-E442-8A23-38D51CDA0D2F}"/>
              </a:ext>
            </a:extLst>
          </p:cNvPr>
          <p:cNvSpPr txBox="1"/>
          <p:nvPr/>
        </p:nvSpPr>
        <p:spPr>
          <a:xfrm>
            <a:off x="961664" y="5421133"/>
            <a:ext cx="10537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DoS flow</a:t>
            </a:r>
          </a:p>
        </p:txBody>
      </p:sp>
      <p:sp>
        <p:nvSpPr>
          <p:cNvPr id="62" name="Freeform 61">
            <a:extLst>
              <a:ext uri="{FF2B5EF4-FFF2-40B4-BE49-F238E27FC236}">
                <a16:creationId xmlns:a16="http://schemas.microsoft.com/office/drawing/2014/main" xmlns="" id="{C5DF39A2-02C1-5E45-ABCB-3ECE53C23478}"/>
              </a:ext>
            </a:extLst>
          </p:cNvPr>
          <p:cNvSpPr/>
          <p:nvPr/>
        </p:nvSpPr>
        <p:spPr>
          <a:xfrm>
            <a:off x="3950087" y="3433597"/>
            <a:ext cx="896393" cy="722740"/>
          </a:xfrm>
          <a:custGeom>
            <a:avLst/>
            <a:gdLst>
              <a:gd name="connsiteX0" fmla="*/ 20453 w 896393"/>
              <a:gd name="connsiteY0" fmla="*/ 221881 h 722740"/>
              <a:gd name="connsiteX1" fmla="*/ 245 w 896393"/>
              <a:gd name="connsiteY1" fmla="*/ 378490 h 722740"/>
              <a:gd name="connsiteX2" fmla="*/ 35609 w 896393"/>
              <a:gd name="connsiteY2" fmla="*/ 535100 h 722740"/>
              <a:gd name="connsiteX3" fmla="*/ 172011 w 896393"/>
              <a:gd name="connsiteY3" fmla="*/ 540152 h 722740"/>
              <a:gd name="connsiteX4" fmla="*/ 151803 w 896393"/>
              <a:gd name="connsiteY4" fmla="*/ 656347 h 722740"/>
              <a:gd name="connsiteX5" fmla="*/ 353880 w 896393"/>
              <a:gd name="connsiteY5" fmla="*/ 722022 h 722740"/>
              <a:gd name="connsiteX6" fmla="*/ 495334 w 896393"/>
              <a:gd name="connsiteY6" fmla="*/ 615931 h 722740"/>
              <a:gd name="connsiteX7" fmla="*/ 606477 w 896393"/>
              <a:gd name="connsiteY7" fmla="*/ 636139 h 722740"/>
              <a:gd name="connsiteX8" fmla="*/ 843918 w 896393"/>
              <a:gd name="connsiteY8" fmla="*/ 646243 h 722740"/>
              <a:gd name="connsiteX9" fmla="*/ 889385 w 896393"/>
              <a:gd name="connsiteY9" fmla="*/ 449218 h 722740"/>
              <a:gd name="connsiteX10" fmla="*/ 737827 w 896393"/>
              <a:gd name="connsiteY10" fmla="*/ 358283 h 722740"/>
              <a:gd name="connsiteX11" fmla="*/ 803502 w 896393"/>
              <a:gd name="connsiteY11" fmla="*/ 176413 h 722740"/>
              <a:gd name="connsiteX12" fmla="*/ 656996 w 896393"/>
              <a:gd name="connsiteY12" fmla="*/ 50115 h 722740"/>
              <a:gd name="connsiteX13" fmla="*/ 439763 w 896393"/>
              <a:gd name="connsiteY13" fmla="*/ 146102 h 722740"/>
              <a:gd name="connsiteX14" fmla="*/ 318517 w 896393"/>
              <a:gd name="connsiteY14" fmla="*/ 146102 h 722740"/>
              <a:gd name="connsiteX15" fmla="*/ 197270 w 896393"/>
              <a:gd name="connsiteY15" fmla="*/ 4647 h 722740"/>
              <a:gd name="connsiteX16" fmla="*/ 30557 w 896393"/>
              <a:gd name="connsiteY16" fmla="*/ 50115 h 722740"/>
              <a:gd name="connsiteX17" fmla="*/ 20453 w 896393"/>
              <a:gd name="connsiteY17" fmla="*/ 221881 h 722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96393" h="722740">
                <a:moveTo>
                  <a:pt x="20453" y="221881"/>
                </a:moveTo>
                <a:cubicBezTo>
                  <a:pt x="15401" y="276610"/>
                  <a:pt x="-2281" y="326287"/>
                  <a:pt x="245" y="378490"/>
                </a:cubicBezTo>
                <a:cubicBezTo>
                  <a:pt x="2771" y="430693"/>
                  <a:pt x="6981" y="508156"/>
                  <a:pt x="35609" y="535100"/>
                </a:cubicBezTo>
                <a:cubicBezTo>
                  <a:pt x="64237" y="562044"/>
                  <a:pt x="152645" y="519944"/>
                  <a:pt x="172011" y="540152"/>
                </a:cubicBezTo>
                <a:cubicBezTo>
                  <a:pt x="191377" y="560360"/>
                  <a:pt x="121492" y="626035"/>
                  <a:pt x="151803" y="656347"/>
                </a:cubicBezTo>
                <a:cubicBezTo>
                  <a:pt x="182114" y="686659"/>
                  <a:pt x="296625" y="728758"/>
                  <a:pt x="353880" y="722022"/>
                </a:cubicBezTo>
                <a:cubicBezTo>
                  <a:pt x="411135" y="715286"/>
                  <a:pt x="453235" y="630245"/>
                  <a:pt x="495334" y="615931"/>
                </a:cubicBezTo>
                <a:cubicBezTo>
                  <a:pt x="537434" y="601617"/>
                  <a:pt x="548380" y="631087"/>
                  <a:pt x="606477" y="636139"/>
                </a:cubicBezTo>
                <a:cubicBezTo>
                  <a:pt x="664574" y="641191"/>
                  <a:pt x="796767" y="677396"/>
                  <a:pt x="843918" y="646243"/>
                </a:cubicBezTo>
                <a:cubicBezTo>
                  <a:pt x="891069" y="615090"/>
                  <a:pt x="907067" y="497211"/>
                  <a:pt x="889385" y="449218"/>
                </a:cubicBezTo>
                <a:cubicBezTo>
                  <a:pt x="871703" y="401225"/>
                  <a:pt x="752141" y="403751"/>
                  <a:pt x="737827" y="358283"/>
                </a:cubicBezTo>
                <a:cubicBezTo>
                  <a:pt x="723513" y="312816"/>
                  <a:pt x="816974" y="227774"/>
                  <a:pt x="803502" y="176413"/>
                </a:cubicBezTo>
                <a:cubicBezTo>
                  <a:pt x="790030" y="125052"/>
                  <a:pt x="717619" y="55167"/>
                  <a:pt x="656996" y="50115"/>
                </a:cubicBezTo>
                <a:cubicBezTo>
                  <a:pt x="596373" y="45063"/>
                  <a:pt x="496176" y="130104"/>
                  <a:pt x="439763" y="146102"/>
                </a:cubicBezTo>
                <a:cubicBezTo>
                  <a:pt x="383350" y="162100"/>
                  <a:pt x="358932" y="169678"/>
                  <a:pt x="318517" y="146102"/>
                </a:cubicBezTo>
                <a:cubicBezTo>
                  <a:pt x="278102" y="122526"/>
                  <a:pt x="245263" y="20645"/>
                  <a:pt x="197270" y="4647"/>
                </a:cubicBezTo>
                <a:cubicBezTo>
                  <a:pt x="149277" y="-11351"/>
                  <a:pt x="58343" y="16435"/>
                  <a:pt x="30557" y="50115"/>
                </a:cubicBezTo>
                <a:cubicBezTo>
                  <a:pt x="2771" y="83795"/>
                  <a:pt x="25505" y="167152"/>
                  <a:pt x="20453" y="221881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tx1">
                <a:lumMod val="75000"/>
                <a:lumOff val="2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xmlns="" id="{DE398A95-5059-B84F-A8FF-AE8014921B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05646" y="3734024"/>
            <a:ext cx="180000" cy="180000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xmlns="" id="{A4D2B593-27EC-084E-8D80-23B870ECEC6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67232" y="3627513"/>
            <a:ext cx="180000" cy="180000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xmlns="" id="{84F998EA-BB8E-AE4C-A6E9-07AC2EBFEE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94247" y="3841746"/>
            <a:ext cx="180000" cy="180000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xmlns="" id="{2C8B9936-677E-5F42-BB67-19460291D6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58046" y="3886424"/>
            <a:ext cx="180000" cy="180000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xmlns="" id="{E956F72B-56CE-A34F-B88A-ACD8376463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38268" y="3491624"/>
            <a:ext cx="180000" cy="180000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xmlns="" id="{51E722C4-DC73-E148-AB49-B2F98DC51A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51736" y="3814358"/>
            <a:ext cx="180000" cy="180000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xmlns="" id="{CD98339A-9C03-324D-B4CD-D2A7EDE174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96196" y="3534837"/>
            <a:ext cx="180000" cy="180000"/>
          </a:xfrm>
          <a:prstGeom prst="rect">
            <a:avLst/>
          </a:prstGeom>
        </p:spPr>
      </p:pic>
      <p:pic>
        <p:nvPicPr>
          <p:cNvPr id="70" name="Picture 10" descr="Afbeeldingsresultaat voor world clipart">
            <a:extLst>
              <a:ext uri="{FF2B5EF4-FFF2-40B4-BE49-F238E27FC236}">
                <a16:creationId xmlns:a16="http://schemas.microsoft.com/office/drawing/2014/main" xmlns="" id="{4540A81A-E5D3-1741-BAAB-E06F9C7BBBB7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0866" y="3534837"/>
            <a:ext cx="428400" cy="413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xmlns="" id="{F99BE7DE-CACE-4948-AD3B-1764B2A6B0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04790" y="3451519"/>
            <a:ext cx="180000" cy="180000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xmlns="" id="{CFCB2A8E-D2E3-AF4B-B4B1-EA7175A724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03513" y="3007839"/>
            <a:ext cx="180000" cy="180000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xmlns="" id="{BF3E4780-7591-D24B-B0FE-2D7A0E17D6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42239" y="4543712"/>
            <a:ext cx="180000" cy="180000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xmlns="" id="{D6C6E86C-4911-4242-AACD-593960B268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42766" y="2239962"/>
            <a:ext cx="180000" cy="180000"/>
          </a:xfrm>
          <a:prstGeom prst="rect">
            <a:avLst/>
          </a:prstGeom>
        </p:spPr>
      </p:pic>
      <p:sp>
        <p:nvSpPr>
          <p:cNvPr id="75" name="Freeform 74">
            <a:extLst>
              <a:ext uri="{FF2B5EF4-FFF2-40B4-BE49-F238E27FC236}">
                <a16:creationId xmlns:a16="http://schemas.microsoft.com/office/drawing/2014/main" xmlns="" id="{7E2FCACE-FC89-2D4B-8898-753BB1FEE016}"/>
              </a:ext>
            </a:extLst>
          </p:cNvPr>
          <p:cNvSpPr/>
          <p:nvPr/>
        </p:nvSpPr>
        <p:spPr>
          <a:xfrm>
            <a:off x="3377692" y="2305878"/>
            <a:ext cx="1208373" cy="1455089"/>
          </a:xfrm>
          <a:custGeom>
            <a:avLst/>
            <a:gdLst>
              <a:gd name="connsiteX0" fmla="*/ 564317 w 1208373"/>
              <a:gd name="connsiteY0" fmla="*/ 1455089 h 1455089"/>
              <a:gd name="connsiteX1" fmla="*/ 71336 w 1208373"/>
              <a:gd name="connsiteY1" fmla="*/ 1311965 h 1455089"/>
              <a:gd name="connsiteX2" fmla="*/ 39531 w 1208373"/>
              <a:gd name="connsiteY2" fmla="*/ 1105232 h 1455089"/>
              <a:gd name="connsiteX3" fmla="*/ 421194 w 1208373"/>
              <a:gd name="connsiteY3" fmla="*/ 659959 h 1455089"/>
              <a:gd name="connsiteX4" fmla="*/ 715392 w 1208373"/>
              <a:gd name="connsiteY4" fmla="*/ 588397 h 1455089"/>
              <a:gd name="connsiteX5" fmla="*/ 842613 w 1208373"/>
              <a:gd name="connsiteY5" fmla="*/ 357809 h 1455089"/>
              <a:gd name="connsiteX6" fmla="*/ 1208373 w 1208373"/>
              <a:gd name="connsiteY6" fmla="*/ 0 h 1455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8373" h="1455089">
                <a:moveTo>
                  <a:pt x="564317" y="1455089"/>
                </a:moveTo>
                <a:cubicBezTo>
                  <a:pt x="361558" y="1412681"/>
                  <a:pt x="158800" y="1370274"/>
                  <a:pt x="71336" y="1311965"/>
                </a:cubicBezTo>
                <a:cubicBezTo>
                  <a:pt x="-16128" y="1253656"/>
                  <a:pt x="-18779" y="1213900"/>
                  <a:pt x="39531" y="1105232"/>
                </a:cubicBezTo>
                <a:cubicBezTo>
                  <a:pt x="97841" y="996564"/>
                  <a:pt x="308550" y="746098"/>
                  <a:pt x="421194" y="659959"/>
                </a:cubicBezTo>
                <a:cubicBezTo>
                  <a:pt x="533837" y="573820"/>
                  <a:pt x="645155" y="638755"/>
                  <a:pt x="715392" y="588397"/>
                </a:cubicBezTo>
                <a:cubicBezTo>
                  <a:pt x="785629" y="538039"/>
                  <a:pt x="760450" y="455875"/>
                  <a:pt x="842613" y="357809"/>
                </a:cubicBezTo>
                <a:cubicBezTo>
                  <a:pt x="924776" y="259743"/>
                  <a:pt x="1066574" y="129871"/>
                  <a:pt x="1208373" y="0"/>
                </a:cubicBezTo>
              </a:path>
            </a:pathLst>
          </a:custGeom>
          <a:noFill/>
          <a:ln w="63500">
            <a:solidFill>
              <a:schemeClr val="bg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6" name="Straight Connector 199">
            <a:extLst>
              <a:ext uri="{FF2B5EF4-FFF2-40B4-BE49-F238E27FC236}">
                <a16:creationId xmlns:a16="http://schemas.microsoft.com/office/drawing/2014/main" xmlns="" id="{94AB3F77-E7AA-4245-A03E-5D07955A306D}"/>
              </a:ext>
            </a:extLst>
          </p:cNvPr>
          <p:cNvCxnSpPr>
            <a:cxnSpLocks/>
            <a:stCxn id="63" idx="1"/>
            <a:endCxn id="36" idx="0"/>
          </p:cNvCxnSpPr>
          <p:nvPr/>
        </p:nvCxnSpPr>
        <p:spPr>
          <a:xfrm rot="10800000" flipV="1">
            <a:off x="2522402" y="3824023"/>
            <a:ext cx="1483244" cy="841421"/>
          </a:xfrm>
          <a:prstGeom prst="curvedConnector2">
            <a:avLst/>
          </a:prstGeom>
          <a:ln w="12700">
            <a:solidFill>
              <a:schemeClr val="bg2"/>
            </a:solidFill>
            <a:prstDash val="sysDot"/>
            <a:headEnd type="triangl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199">
            <a:extLst>
              <a:ext uri="{FF2B5EF4-FFF2-40B4-BE49-F238E27FC236}">
                <a16:creationId xmlns:a16="http://schemas.microsoft.com/office/drawing/2014/main" xmlns="" id="{D109AE17-BEC1-B44A-9F79-296A6716BA34}"/>
              </a:ext>
            </a:extLst>
          </p:cNvPr>
          <p:cNvCxnSpPr>
            <a:cxnSpLocks/>
            <a:stCxn id="66" idx="1"/>
            <a:endCxn id="36" idx="0"/>
          </p:cNvCxnSpPr>
          <p:nvPr/>
        </p:nvCxnSpPr>
        <p:spPr>
          <a:xfrm rot="10800000" flipV="1">
            <a:off x="2522402" y="3976423"/>
            <a:ext cx="1635644" cy="689021"/>
          </a:xfrm>
          <a:prstGeom prst="curvedConnector2">
            <a:avLst/>
          </a:prstGeom>
          <a:ln w="12700">
            <a:solidFill>
              <a:schemeClr val="bg2"/>
            </a:solidFill>
            <a:prstDash val="sysDot"/>
            <a:headEnd type="triangle" w="med" len="med"/>
            <a:tailEnd type="none" w="med" len="med"/>
          </a:ln>
          <a:effectLst>
            <a:outerShdw blurRad="127000" dist="1270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xmlns="" id="{649CBE8A-E98C-7346-BEB6-74DF4B408591}"/>
              </a:ext>
            </a:extLst>
          </p:cNvPr>
          <p:cNvSpPr txBox="1"/>
          <p:nvPr/>
        </p:nvSpPr>
        <p:spPr>
          <a:xfrm>
            <a:off x="4441736" y="3005146"/>
            <a:ext cx="92515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warm of globally distributed compromised IoT devices</a:t>
            </a:r>
          </a:p>
        </p:txBody>
      </p:sp>
      <p:pic>
        <p:nvPicPr>
          <p:cNvPr id="80" name="Picture 79">
            <a:extLst>
              <a:ext uri="{FF2B5EF4-FFF2-40B4-BE49-F238E27FC236}">
                <a16:creationId xmlns:a16="http://schemas.microsoft.com/office/drawing/2014/main" xmlns="" id="{C12DCDE3-524D-C045-AFDF-FAE2F5E3502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0107" y="1754724"/>
            <a:ext cx="2430000" cy="2898666"/>
          </a:xfrm>
          <a:prstGeom prst="rect">
            <a:avLst/>
          </a:prstGeom>
          <a:effectLst>
            <a:outerShdw blurRad="127000" dist="127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xmlns="" id="{51953635-916D-894A-9B69-583B1007B5FB}"/>
              </a:ext>
            </a:extLst>
          </p:cNvPr>
          <p:cNvSpPr txBox="1"/>
          <p:nvPr/>
        </p:nvSpPr>
        <p:spPr>
          <a:xfrm>
            <a:off x="6106942" y="5094847"/>
            <a:ext cx="251005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ther targets: OVH (hosting provider), Krebs On Security (website), Deutsche Telecom (ISP)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xmlns="" id="{90A056A7-B44D-3C45-94D4-12DD65B3B394}"/>
              </a:ext>
            </a:extLst>
          </p:cNvPr>
          <p:cNvSpPr txBox="1"/>
          <p:nvPr/>
        </p:nvSpPr>
        <p:spPr>
          <a:xfrm>
            <a:off x="662983" y="5614614"/>
            <a:ext cx="199046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tabLst>
                <a:tab pos="258763" algn="l"/>
              </a:tabLst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N	= Home Network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xmlns="" id="{F1267508-C57A-644D-AE0E-810BA41D9F1F}"/>
              </a:ext>
            </a:extLst>
          </p:cNvPr>
          <p:cNvSpPr txBox="1"/>
          <p:nvPr/>
        </p:nvSpPr>
        <p:spPr>
          <a:xfrm>
            <a:off x="679182" y="5808095"/>
            <a:ext cx="199046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tabLst>
                <a:tab pos="258763" algn="l"/>
              </a:tabLst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	= IoT device</a:t>
            </a:r>
          </a:p>
        </p:txBody>
      </p:sp>
    </p:spTree>
    <p:extLst>
      <p:ext uri="{BB962C8B-B14F-4D97-AF65-F5344CB8AC3E}">
        <p14:creationId xmlns:p14="http://schemas.microsoft.com/office/powerpoint/2010/main" val="308244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DoS trends</a:t>
            </a:r>
            <a:endParaRPr lang="en-US" sz="900" dirty="0"/>
          </a:p>
        </p:txBody>
      </p:sp>
      <p:sp>
        <p:nvSpPr>
          <p:cNvPr id="5" name="Tijdelijke aanduiding voor verticale tekst 4"/>
          <p:cNvSpPr>
            <a:spLocks noGrp="1"/>
          </p:cNvSpPr>
          <p:nvPr>
            <p:ph type="body" orient="vert" idx="1"/>
          </p:nvPr>
        </p:nvSpPr>
        <p:spPr>
          <a:xfrm>
            <a:off x="344196" y="1039091"/>
            <a:ext cx="8346963" cy="4147310"/>
          </a:xfrm>
        </p:spPr>
        <p:txBody>
          <a:bodyPr/>
          <a:lstStyle/>
          <a:p>
            <a:pPr lvl="2"/>
            <a:r>
              <a:rPr lang="en-US" dirty="0"/>
              <a:t>Volume at 1+ </a:t>
            </a:r>
            <a:r>
              <a:rPr lang="en-US" dirty="0" err="1"/>
              <a:t>Tbps</a:t>
            </a:r>
            <a:r>
              <a:rPr lang="en-US" dirty="0"/>
              <a:t>, likely going up (</a:t>
            </a:r>
            <a:r>
              <a:rPr lang="en-US" dirty="0" err="1"/>
              <a:t>Dyn</a:t>
            </a:r>
            <a:r>
              <a:rPr lang="en-US" dirty="0"/>
              <a:t> @ 1.2 </a:t>
            </a:r>
            <a:r>
              <a:rPr lang="en-US" dirty="0" err="1"/>
              <a:t>Tbps</a:t>
            </a:r>
            <a:r>
              <a:rPr lang="en-US" dirty="0"/>
              <a:t>, GitHub @ 1.3 </a:t>
            </a:r>
            <a:r>
              <a:rPr lang="en-US" dirty="0" err="1"/>
              <a:t>Tbps</a:t>
            </a:r>
            <a:r>
              <a:rPr lang="en-US" dirty="0"/>
              <a:t>)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Many widely distributed DDoS sources (</a:t>
            </a:r>
            <a:r>
              <a:rPr lang="en-US" dirty="0" err="1"/>
              <a:t>Mirai</a:t>
            </a:r>
            <a:r>
              <a:rPr lang="en-US" dirty="0"/>
              <a:t>: 600K, bots all over the world)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IoT bots mutating and spreading quickly (</a:t>
            </a:r>
            <a:r>
              <a:rPr lang="en-US" dirty="0" err="1"/>
              <a:t>Mirai</a:t>
            </a:r>
            <a:r>
              <a:rPr lang="en-US"/>
              <a:t>: 75-minute </a:t>
            </a:r>
            <a:r>
              <a:rPr lang="en-US" dirty="0"/>
              <a:t>doubling time)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Easier to launch through </a:t>
            </a:r>
            <a:r>
              <a:rPr lang="en-US" dirty="0" err="1"/>
              <a:t>booters</a:t>
            </a:r>
            <a:r>
              <a:rPr lang="en-US" dirty="0"/>
              <a:t>/</a:t>
            </a:r>
            <a:r>
              <a:rPr lang="en-US" dirty="0" err="1"/>
              <a:t>stressers</a:t>
            </a:r>
            <a:r>
              <a:rPr lang="en-US" dirty="0"/>
              <a:t> (</a:t>
            </a:r>
            <a:r>
              <a:rPr lang="en-US" dirty="0" err="1"/>
              <a:t>Mirai</a:t>
            </a:r>
            <a:r>
              <a:rPr lang="en-US" dirty="0"/>
              <a:t>)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Combination of direct and reflection attacks (</a:t>
            </a:r>
            <a:r>
              <a:rPr lang="en-US" dirty="0" err="1"/>
              <a:t>Mirai</a:t>
            </a:r>
            <a:r>
              <a:rPr lang="en-US" dirty="0"/>
              <a:t>)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DNS increasingly a high-profile target (DNS root 2015, </a:t>
            </a:r>
            <a:r>
              <a:rPr lang="en-US" dirty="0" err="1"/>
              <a:t>Dyn</a:t>
            </a:r>
            <a:r>
              <a:rPr lang="en-US" dirty="0"/>
              <a:t> 2016)</a:t>
            </a:r>
          </a:p>
        </p:txBody>
      </p:sp>
    </p:spTree>
    <p:extLst>
      <p:ext uri="{BB962C8B-B14F-4D97-AF65-F5344CB8AC3E}">
        <p14:creationId xmlns:p14="http://schemas.microsoft.com/office/powerpoint/2010/main" val="1220484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he Netherlands</a:t>
            </a:r>
          </a:p>
        </p:txBody>
      </p:sp>
      <p:sp>
        <p:nvSpPr>
          <p:cNvPr id="5" name="Tijdelijke aanduiding voor verticale tekst 4"/>
          <p:cNvSpPr>
            <a:spLocks noGrp="1"/>
          </p:cNvSpPr>
          <p:nvPr>
            <p:ph type="body" orient="vert" idx="1"/>
          </p:nvPr>
        </p:nvSpPr>
        <p:spPr>
          <a:xfrm>
            <a:off x="344196" y="1092201"/>
            <a:ext cx="4157466" cy="4680000"/>
          </a:xfrm>
        </p:spPr>
        <p:txBody>
          <a:bodyPr/>
          <a:lstStyle/>
          <a:p>
            <a:pPr lvl="2"/>
            <a:r>
              <a:rPr lang="en-US" sz="1800" dirty="0"/>
              <a:t>DDoS attacks on Dutch critical infrastructure operators (Jan 2018)</a:t>
            </a:r>
          </a:p>
          <a:p>
            <a:pPr lvl="2"/>
            <a:endParaRPr lang="en-US" sz="1800" dirty="0"/>
          </a:p>
          <a:p>
            <a:pPr lvl="2"/>
            <a:r>
              <a:rPr lang="en-US" dirty="0"/>
              <a:t>Estimated 40 Gbps attacks resulted in service outages at several operators</a:t>
            </a:r>
          </a:p>
          <a:p>
            <a:pPr lvl="2"/>
            <a:endParaRPr lang="en-US" sz="1800" dirty="0"/>
          </a:p>
          <a:p>
            <a:pPr lvl="2"/>
            <a:r>
              <a:rPr lang="en-US" sz="1800" dirty="0"/>
              <a:t>Reactive and individual </a:t>
            </a:r>
            <a:r>
              <a:rPr lang="en-US" dirty="0"/>
              <a:t>DDoS mitigation </a:t>
            </a:r>
            <a:r>
              <a:rPr lang="en-US" sz="1800" dirty="0"/>
              <a:t>strategy</a:t>
            </a:r>
          </a:p>
          <a:p>
            <a:pPr lvl="3"/>
            <a:r>
              <a:rPr lang="en-US" dirty="0"/>
              <a:t>(Commercial) DDoS protection services per critical service provider</a:t>
            </a:r>
          </a:p>
          <a:p>
            <a:pPr lvl="3"/>
            <a:r>
              <a:rPr lang="en-US" dirty="0"/>
              <a:t>Person-to-person incident response communications during attack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8F6BCE4E-1EEF-2240-B7B5-BB27001E82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7624" y="2487130"/>
            <a:ext cx="3443330" cy="3369479"/>
          </a:xfrm>
          <a:prstGeom prst="rect">
            <a:avLst/>
          </a:prstGeom>
          <a:effectLst>
            <a:outerShdw blurRad="127000" dist="1270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3B98D6D-3E91-784B-B885-F66C8E0F8A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36304" y="767755"/>
            <a:ext cx="1705970" cy="1340405"/>
          </a:xfrm>
          <a:prstGeom prst="rect">
            <a:avLst/>
          </a:prstGeom>
          <a:effectLst>
            <a:outerShdw blurRad="292100" dist="114300" dir="2700000" algn="tl" rotWithShape="0">
              <a:srgbClr val="000000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66018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proactive and collaborative strategy</a:t>
            </a:r>
            <a:endParaRPr lang="en-US" sz="900" dirty="0"/>
          </a:p>
        </p:txBody>
      </p:sp>
      <p:sp>
        <p:nvSpPr>
          <p:cNvPr id="5" name="Tijdelijke aanduiding voor verticale tekst 4"/>
          <p:cNvSpPr>
            <a:spLocks noGrp="1"/>
          </p:cNvSpPr>
          <p:nvPr>
            <p:ph type="body" orient="vert" idx="1"/>
          </p:nvPr>
        </p:nvSpPr>
        <p:spPr>
          <a:xfrm>
            <a:off x="344196" y="1039091"/>
            <a:ext cx="8346963" cy="4147310"/>
          </a:xfrm>
        </p:spPr>
        <p:txBody>
          <a:bodyPr/>
          <a:lstStyle/>
          <a:p>
            <a:pPr lvl="2"/>
            <a:r>
              <a:rPr lang="en-US" dirty="0"/>
              <a:t>Improve information position of Dutch critical service providers by </a:t>
            </a:r>
            <a:r>
              <a:rPr lang="en-US" i="1" u="sng" dirty="0"/>
              <a:t>continually and automatically</a:t>
            </a:r>
            <a:r>
              <a:rPr lang="en-US" dirty="0"/>
              <a:t> sharing </a:t>
            </a:r>
            <a:r>
              <a:rPr lang="en-US" i="1" u="sng" dirty="0"/>
              <a:t>fingerprints</a:t>
            </a:r>
            <a:r>
              <a:rPr lang="en-US" dirty="0"/>
              <a:t> of actual and potential DDoS sources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Widens view of critical service providers, enabling them to </a:t>
            </a:r>
            <a:r>
              <a:rPr lang="en-US" i="1" u="sng" dirty="0"/>
              <a:t>proactively</a:t>
            </a:r>
            <a:r>
              <a:rPr lang="en-US" dirty="0"/>
              <a:t> prepare for attacks that have not hit them yet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Information provisioning layer that </a:t>
            </a:r>
            <a:r>
              <a:rPr lang="en-US" i="1" u="sng" dirty="0"/>
              <a:t>extends</a:t>
            </a:r>
            <a:r>
              <a:rPr lang="en-US" dirty="0"/>
              <a:t> existing DDoS protection services that Dutch critical service providers use and </a:t>
            </a:r>
            <a:r>
              <a:rPr lang="en-US" i="1" u="sng" dirty="0"/>
              <a:t>does not replace them</a:t>
            </a:r>
            <a:r>
              <a:rPr lang="en-US" i="1" dirty="0"/>
              <a:t> </a:t>
            </a:r>
          </a:p>
          <a:p>
            <a:pPr lvl="2"/>
            <a:endParaRPr lang="en-US" sz="1800" dirty="0"/>
          </a:p>
          <a:p>
            <a:pPr lvl="2"/>
            <a:r>
              <a:rPr lang="en-US" dirty="0"/>
              <a:t>Improve </a:t>
            </a:r>
            <a:r>
              <a:rPr lang="en-US" i="1" u="sng" dirty="0"/>
              <a:t>attribution</a:t>
            </a:r>
            <a:r>
              <a:rPr lang="en-US" dirty="0"/>
              <a:t> of perpetrators and </a:t>
            </a:r>
            <a:r>
              <a:rPr lang="en-US" dirty="0" err="1"/>
              <a:t>booter</a:t>
            </a:r>
            <a:r>
              <a:rPr lang="en-US" dirty="0"/>
              <a:t> operators, allowing for better prosecution and increased deterrent effects</a:t>
            </a:r>
          </a:p>
          <a:p>
            <a:pPr lvl="2"/>
            <a:endParaRPr lang="en-US" sz="1800" dirty="0"/>
          </a:p>
          <a:p>
            <a:pPr lvl="2"/>
            <a:r>
              <a:rPr lang="en-US" sz="1800" dirty="0"/>
              <a:t>Onboard </a:t>
            </a:r>
            <a:r>
              <a:rPr lang="en-US" sz="1800" i="1" u="sng" dirty="0"/>
              <a:t>all</a:t>
            </a:r>
            <a:r>
              <a:rPr lang="en-US" sz="1800" dirty="0"/>
              <a:t> critical providers in NL</a:t>
            </a:r>
            <a:r>
              <a:rPr lang="en-US" dirty="0"/>
              <a:t> (Internet, financial, energy, water, etc.)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54684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018BEACA-AF41-A64D-B8CA-EE3A47668E59}"/>
              </a:ext>
            </a:extLst>
          </p:cNvPr>
          <p:cNvGrpSpPr/>
          <p:nvPr/>
        </p:nvGrpSpPr>
        <p:grpSpPr>
          <a:xfrm>
            <a:off x="3461614" y="4140823"/>
            <a:ext cx="990000" cy="1476125"/>
            <a:chOff x="3713020" y="4467695"/>
            <a:chExt cx="990000" cy="1476125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xmlns="" id="{A94262F9-0CFC-7745-9D9F-CE2E7BBCCE20}"/>
                </a:ext>
              </a:extLst>
            </p:cNvPr>
            <p:cNvSpPr/>
            <p:nvPr/>
          </p:nvSpPr>
          <p:spPr>
            <a:xfrm>
              <a:off x="3891686" y="5402324"/>
              <a:ext cx="632668" cy="54149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nl-NL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PS4</a:t>
              </a:r>
            </a:p>
          </p:txBody>
        </p:sp>
        <p:sp>
          <p:nvSpPr>
            <p:cNvPr id="68" name="Rounded Rectangle 67">
              <a:extLst>
                <a:ext uri="{FF2B5EF4-FFF2-40B4-BE49-F238E27FC236}">
                  <a16:creationId xmlns:a16="http://schemas.microsoft.com/office/drawing/2014/main" xmlns="" id="{C107AB93-443E-E94D-9B4E-8E33B3114C3A}"/>
                </a:ext>
              </a:extLst>
            </p:cNvPr>
            <p:cNvSpPr/>
            <p:nvPr/>
          </p:nvSpPr>
          <p:spPr>
            <a:xfrm>
              <a:off x="3713020" y="4467695"/>
              <a:ext cx="990000" cy="540000"/>
            </a:xfrm>
            <a:prstGeom prst="roundRect">
              <a:avLst>
                <a:gd name="adj" fmla="val 7678"/>
              </a:avLst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nl-NL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SP4</a:t>
              </a:r>
              <a:endParaRPr lang="nl-NL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944070B2-989A-9D4C-9B45-D53DC7FA25EF}"/>
                </a:ext>
              </a:extLst>
            </p:cNvPr>
            <p:cNvCxnSpPr>
              <a:cxnSpLocks/>
              <a:stCxn id="69" idx="0"/>
              <a:endCxn id="68" idx="2"/>
            </p:cNvCxnSpPr>
            <p:nvPr/>
          </p:nvCxnSpPr>
          <p:spPr>
            <a:xfrm flipV="1">
              <a:off x="4208020" y="5007695"/>
              <a:ext cx="0" cy="394629"/>
            </a:xfrm>
            <a:prstGeom prst="line">
              <a:avLst/>
            </a:prstGeom>
            <a:ln w="38100">
              <a:solidFill>
                <a:schemeClr val="tx1">
                  <a:lumMod val="65000"/>
                  <a:lumOff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D0075787-3041-8A4F-98FE-92941B6E0061}"/>
              </a:ext>
            </a:extLst>
          </p:cNvPr>
          <p:cNvGrpSpPr/>
          <p:nvPr/>
        </p:nvGrpSpPr>
        <p:grpSpPr>
          <a:xfrm>
            <a:off x="3408916" y="4198372"/>
            <a:ext cx="990000" cy="1476125"/>
            <a:chOff x="3713020" y="4467695"/>
            <a:chExt cx="990000" cy="1476125"/>
          </a:xfrm>
        </p:grpSpPr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97437616-8C31-6645-AE1A-37F5B7DC757D}"/>
                </a:ext>
              </a:extLst>
            </p:cNvPr>
            <p:cNvCxnSpPr>
              <a:cxnSpLocks/>
              <a:stCxn id="65" idx="0"/>
              <a:endCxn id="64" idx="2"/>
            </p:cNvCxnSpPr>
            <p:nvPr/>
          </p:nvCxnSpPr>
          <p:spPr>
            <a:xfrm flipV="1">
              <a:off x="4208020" y="5007695"/>
              <a:ext cx="0" cy="394629"/>
            </a:xfrm>
            <a:prstGeom prst="line">
              <a:avLst/>
            </a:prstGeom>
            <a:ln w="38100">
              <a:solidFill>
                <a:schemeClr val="tx1">
                  <a:lumMod val="65000"/>
                  <a:lumOff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Rounded Rectangle 63">
              <a:extLst>
                <a:ext uri="{FF2B5EF4-FFF2-40B4-BE49-F238E27FC236}">
                  <a16:creationId xmlns:a16="http://schemas.microsoft.com/office/drawing/2014/main" xmlns="" id="{E0E5B47D-FF38-A243-ABAA-14ED5EE37C07}"/>
                </a:ext>
              </a:extLst>
            </p:cNvPr>
            <p:cNvSpPr/>
            <p:nvPr/>
          </p:nvSpPr>
          <p:spPr>
            <a:xfrm>
              <a:off x="3713020" y="4467695"/>
              <a:ext cx="990000" cy="540000"/>
            </a:xfrm>
            <a:prstGeom prst="roundRect">
              <a:avLst>
                <a:gd name="adj" fmla="val 7678"/>
              </a:avLst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nl-NL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SP3</a:t>
              </a:r>
              <a:endParaRPr lang="nl-NL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xmlns="" id="{DC02DDAD-4125-DD4A-9BF9-F9D43FA6E74C}"/>
                </a:ext>
              </a:extLst>
            </p:cNvPr>
            <p:cNvSpPr/>
            <p:nvPr/>
          </p:nvSpPr>
          <p:spPr>
            <a:xfrm>
              <a:off x="3891686" y="5402324"/>
              <a:ext cx="632668" cy="54149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nl-NL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PS3</a:t>
              </a:r>
            </a:p>
          </p:txBody>
        </p:sp>
      </p:grpSp>
      <p:sp>
        <p:nvSpPr>
          <p:cNvPr id="37" name="Freeform 36">
            <a:extLst>
              <a:ext uri="{FF2B5EF4-FFF2-40B4-BE49-F238E27FC236}">
                <a16:creationId xmlns:a16="http://schemas.microsoft.com/office/drawing/2014/main" xmlns="" id="{DC45DB5F-73A7-FF40-AAEC-5BD53D089C8B}"/>
              </a:ext>
            </a:extLst>
          </p:cNvPr>
          <p:cNvSpPr/>
          <p:nvPr/>
        </p:nvSpPr>
        <p:spPr>
          <a:xfrm flipV="1">
            <a:off x="1923847" y="3577314"/>
            <a:ext cx="1180596" cy="895303"/>
          </a:xfrm>
          <a:custGeom>
            <a:avLst/>
            <a:gdLst>
              <a:gd name="connsiteX0" fmla="*/ 0 w 1764000"/>
              <a:gd name="connsiteY0" fmla="*/ 1166611 h 1166611"/>
              <a:gd name="connsiteX1" fmla="*/ 792000 w 1764000"/>
              <a:gd name="connsiteY1" fmla="*/ 921811 h 1166611"/>
              <a:gd name="connsiteX2" fmla="*/ 1130400 w 1764000"/>
              <a:gd name="connsiteY2" fmla="*/ 151411 h 1166611"/>
              <a:gd name="connsiteX3" fmla="*/ 1764000 w 1764000"/>
              <a:gd name="connsiteY3" fmla="*/ 211 h 1166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00" h="1166611">
                <a:moveTo>
                  <a:pt x="0" y="1166611"/>
                </a:moveTo>
                <a:cubicBezTo>
                  <a:pt x="301800" y="1128811"/>
                  <a:pt x="603600" y="1091011"/>
                  <a:pt x="792000" y="921811"/>
                </a:cubicBezTo>
                <a:cubicBezTo>
                  <a:pt x="980400" y="752611"/>
                  <a:pt x="968400" y="305011"/>
                  <a:pt x="1130400" y="151411"/>
                </a:cubicBezTo>
                <a:cubicBezTo>
                  <a:pt x="1292400" y="-2189"/>
                  <a:pt x="1528200" y="-989"/>
                  <a:pt x="1764000" y="211"/>
                </a:cubicBezTo>
              </a:path>
            </a:pathLst>
          </a:custGeom>
          <a:noFill/>
          <a:ln w="762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xmlns="" id="{996C4D9A-A9C5-FB48-A030-F0E3A695D6A1}"/>
              </a:ext>
            </a:extLst>
          </p:cNvPr>
          <p:cNvSpPr/>
          <p:nvPr/>
        </p:nvSpPr>
        <p:spPr>
          <a:xfrm>
            <a:off x="1570198" y="2549959"/>
            <a:ext cx="1764000" cy="1027356"/>
          </a:xfrm>
          <a:custGeom>
            <a:avLst/>
            <a:gdLst>
              <a:gd name="connsiteX0" fmla="*/ 0 w 1764000"/>
              <a:gd name="connsiteY0" fmla="*/ 1166611 h 1166611"/>
              <a:gd name="connsiteX1" fmla="*/ 792000 w 1764000"/>
              <a:gd name="connsiteY1" fmla="*/ 921811 h 1166611"/>
              <a:gd name="connsiteX2" fmla="*/ 1130400 w 1764000"/>
              <a:gd name="connsiteY2" fmla="*/ 151411 h 1166611"/>
              <a:gd name="connsiteX3" fmla="*/ 1764000 w 1764000"/>
              <a:gd name="connsiteY3" fmla="*/ 211 h 1166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64000" h="1166611">
                <a:moveTo>
                  <a:pt x="0" y="1166611"/>
                </a:moveTo>
                <a:cubicBezTo>
                  <a:pt x="301800" y="1128811"/>
                  <a:pt x="603600" y="1091011"/>
                  <a:pt x="792000" y="921811"/>
                </a:cubicBezTo>
                <a:cubicBezTo>
                  <a:pt x="980400" y="752611"/>
                  <a:pt x="968400" y="305011"/>
                  <a:pt x="1130400" y="151411"/>
                </a:cubicBezTo>
                <a:cubicBezTo>
                  <a:pt x="1292400" y="-2189"/>
                  <a:pt x="1528200" y="-989"/>
                  <a:pt x="1764000" y="211"/>
                </a:cubicBezTo>
              </a:path>
            </a:pathLst>
          </a:custGeom>
          <a:noFill/>
          <a:ln w="7620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DoS radar (IoT example)</a:t>
            </a:r>
            <a:endParaRPr lang="en-US" sz="900" dirty="0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xmlns="" id="{5F063B6C-7605-064F-869F-5A925A40AE5A}"/>
              </a:ext>
            </a:extLst>
          </p:cNvPr>
          <p:cNvSpPr/>
          <p:nvPr/>
        </p:nvSpPr>
        <p:spPr>
          <a:xfrm>
            <a:off x="3356218" y="2280772"/>
            <a:ext cx="990000" cy="540000"/>
          </a:xfrm>
          <a:prstGeom prst="roundRect">
            <a:avLst>
              <a:gd name="adj" fmla="val 7678"/>
            </a:avLst>
          </a:prstGeom>
          <a:solidFill>
            <a:schemeClr val="bg1"/>
          </a:solidFill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SP1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xmlns="" id="{066BB440-10A7-7C4E-9B3C-EC56162A3A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00359" y="3366521"/>
            <a:ext cx="1076500" cy="854433"/>
          </a:xfrm>
          <a:prstGeom prst="rect">
            <a:avLst/>
          </a:prstGeom>
        </p:spPr>
      </p:pic>
      <p:grpSp>
        <p:nvGrpSpPr>
          <p:cNvPr id="58" name="Group 57">
            <a:extLst>
              <a:ext uri="{FF2B5EF4-FFF2-40B4-BE49-F238E27FC236}">
                <a16:creationId xmlns:a16="http://schemas.microsoft.com/office/drawing/2014/main" xmlns="" id="{7143FD9A-1FDE-E447-B82B-9B6F47BE50E5}"/>
              </a:ext>
            </a:extLst>
          </p:cNvPr>
          <p:cNvGrpSpPr/>
          <p:nvPr/>
        </p:nvGrpSpPr>
        <p:grpSpPr>
          <a:xfrm>
            <a:off x="797044" y="2804582"/>
            <a:ext cx="1685040" cy="1523432"/>
            <a:chOff x="564777" y="2752903"/>
            <a:chExt cx="1685040" cy="1523432"/>
          </a:xfrm>
        </p:grpSpPr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xmlns="" id="{E0A1EDD8-75D3-8845-A16E-BA1B4A54F5E0}"/>
                </a:ext>
              </a:extLst>
            </p:cNvPr>
            <p:cNvSpPr/>
            <p:nvPr/>
          </p:nvSpPr>
          <p:spPr>
            <a:xfrm>
              <a:off x="564777" y="2752903"/>
              <a:ext cx="1685040" cy="1523432"/>
            </a:xfrm>
            <a:custGeom>
              <a:avLst/>
              <a:gdLst>
                <a:gd name="connsiteX0" fmla="*/ 20453 w 896393"/>
                <a:gd name="connsiteY0" fmla="*/ 221881 h 722740"/>
                <a:gd name="connsiteX1" fmla="*/ 245 w 896393"/>
                <a:gd name="connsiteY1" fmla="*/ 378490 h 722740"/>
                <a:gd name="connsiteX2" fmla="*/ 35609 w 896393"/>
                <a:gd name="connsiteY2" fmla="*/ 535100 h 722740"/>
                <a:gd name="connsiteX3" fmla="*/ 172011 w 896393"/>
                <a:gd name="connsiteY3" fmla="*/ 540152 h 722740"/>
                <a:gd name="connsiteX4" fmla="*/ 151803 w 896393"/>
                <a:gd name="connsiteY4" fmla="*/ 656347 h 722740"/>
                <a:gd name="connsiteX5" fmla="*/ 353880 w 896393"/>
                <a:gd name="connsiteY5" fmla="*/ 722022 h 722740"/>
                <a:gd name="connsiteX6" fmla="*/ 495334 w 896393"/>
                <a:gd name="connsiteY6" fmla="*/ 615931 h 722740"/>
                <a:gd name="connsiteX7" fmla="*/ 606477 w 896393"/>
                <a:gd name="connsiteY7" fmla="*/ 636139 h 722740"/>
                <a:gd name="connsiteX8" fmla="*/ 843918 w 896393"/>
                <a:gd name="connsiteY8" fmla="*/ 646243 h 722740"/>
                <a:gd name="connsiteX9" fmla="*/ 889385 w 896393"/>
                <a:gd name="connsiteY9" fmla="*/ 449218 h 722740"/>
                <a:gd name="connsiteX10" fmla="*/ 737827 w 896393"/>
                <a:gd name="connsiteY10" fmla="*/ 358283 h 722740"/>
                <a:gd name="connsiteX11" fmla="*/ 803502 w 896393"/>
                <a:gd name="connsiteY11" fmla="*/ 176413 h 722740"/>
                <a:gd name="connsiteX12" fmla="*/ 656996 w 896393"/>
                <a:gd name="connsiteY12" fmla="*/ 50115 h 722740"/>
                <a:gd name="connsiteX13" fmla="*/ 439763 w 896393"/>
                <a:gd name="connsiteY13" fmla="*/ 146102 h 722740"/>
                <a:gd name="connsiteX14" fmla="*/ 318517 w 896393"/>
                <a:gd name="connsiteY14" fmla="*/ 146102 h 722740"/>
                <a:gd name="connsiteX15" fmla="*/ 197270 w 896393"/>
                <a:gd name="connsiteY15" fmla="*/ 4647 h 722740"/>
                <a:gd name="connsiteX16" fmla="*/ 30557 w 896393"/>
                <a:gd name="connsiteY16" fmla="*/ 50115 h 722740"/>
                <a:gd name="connsiteX17" fmla="*/ 20453 w 896393"/>
                <a:gd name="connsiteY17" fmla="*/ 221881 h 72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6393" h="722740">
                  <a:moveTo>
                    <a:pt x="20453" y="221881"/>
                  </a:moveTo>
                  <a:cubicBezTo>
                    <a:pt x="15401" y="276610"/>
                    <a:pt x="-2281" y="326287"/>
                    <a:pt x="245" y="378490"/>
                  </a:cubicBezTo>
                  <a:cubicBezTo>
                    <a:pt x="2771" y="430693"/>
                    <a:pt x="6981" y="508156"/>
                    <a:pt x="35609" y="535100"/>
                  </a:cubicBezTo>
                  <a:cubicBezTo>
                    <a:pt x="64237" y="562044"/>
                    <a:pt x="152645" y="519944"/>
                    <a:pt x="172011" y="540152"/>
                  </a:cubicBezTo>
                  <a:cubicBezTo>
                    <a:pt x="191377" y="560360"/>
                    <a:pt x="121492" y="626035"/>
                    <a:pt x="151803" y="656347"/>
                  </a:cubicBezTo>
                  <a:cubicBezTo>
                    <a:pt x="182114" y="686659"/>
                    <a:pt x="296625" y="728758"/>
                    <a:pt x="353880" y="722022"/>
                  </a:cubicBezTo>
                  <a:cubicBezTo>
                    <a:pt x="411135" y="715286"/>
                    <a:pt x="453235" y="630245"/>
                    <a:pt x="495334" y="615931"/>
                  </a:cubicBezTo>
                  <a:cubicBezTo>
                    <a:pt x="537434" y="601617"/>
                    <a:pt x="548380" y="631087"/>
                    <a:pt x="606477" y="636139"/>
                  </a:cubicBezTo>
                  <a:cubicBezTo>
                    <a:pt x="664574" y="641191"/>
                    <a:pt x="796767" y="677396"/>
                    <a:pt x="843918" y="646243"/>
                  </a:cubicBezTo>
                  <a:cubicBezTo>
                    <a:pt x="891069" y="615090"/>
                    <a:pt x="907067" y="497211"/>
                    <a:pt x="889385" y="449218"/>
                  </a:cubicBezTo>
                  <a:cubicBezTo>
                    <a:pt x="871703" y="401225"/>
                    <a:pt x="752141" y="403751"/>
                    <a:pt x="737827" y="358283"/>
                  </a:cubicBezTo>
                  <a:cubicBezTo>
                    <a:pt x="723513" y="312816"/>
                    <a:pt x="816974" y="227774"/>
                    <a:pt x="803502" y="176413"/>
                  </a:cubicBezTo>
                  <a:cubicBezTo>
                    <a:pt x="790030" y="125052"/>
                    <a:pt x="717619" y="55167"/>
                    <a:pt x="656996" y="50115"/>
                  </a:cubicBezTo>
                  <a:cubicBezTo>
                    <a:pt x="596373" y="45063"/>
                    <a:pt x="496176" y="130104"/>
                    <a:pt x="439763" y="146102"/>
                  </a:cubicBezTo>
                  <a:cubicBezTo>
                    <a:pt x="383350" y="162100"/>
                    <a:pt x="358932" y="169678"/>
                    <a:pt x="318517" y="146102"/>
                  </a:cubicBezTo>
                  <a:cubicBezTo>
                    <a:pt x="278102" y="122526"/>
                    <a:pt x="245263" y="20645"/>
                    <a:pt x="197270" y="4647"/>
                  </a:cubicBezTo>
                  <a:cubicBezTo>
                    <a:pt x="149277" y="-11351"/>
                    <a:pt x="58343" y="16435"/>
                    <a:pt x="30557" y="50115"/>
                  </a:cubicBezTo>
                  <a:cubicBezTo>
                    <a:pt x="2771" y="83795"/>
                    <a:pt x="25505" y="167152"/>
                    <a:pt x="20453" y="221881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xmlns="" id="{AA02DB65-41B5-5A44-B2FE-F69CE3FF2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3602" y="2870339"/>
              <a:ext cx="306000" cy="306000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xmlns="" id="{7E9652A2-8464-1241-AB8C-8CB2ACD84B6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2262" y="3440954"/>
              <a:ext cx="306000" cy="306000"/>
            </a:xfrm>
            <a:prstGeom prst="rect">
              <a:avLst/>
            </a:prstGeom>
          </p:spPr>
        </p:pic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xmlns="" id="{9F90B191-C4EC-244F-8606-9D428936846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77525" y="3186265"/>
              <a:ext cx="306000" cy="306000"/>
            </a:xfrm>
            <a:prstGeom prst="rect">
              <a:avLst/>
            </a:prstGeom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xmlns="" id="{F378FB62-8F1B-B748-AF48-68130ABAE2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338318" y="3489541"/>
              <a:ext cx="306000" cy="306000"/>
            </a:xfrm>
            <a:prstGeom prst="rect">
              <a:avLst/>
            </a:prstGeom>
          </p:spPr>
        </p:pic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xmlns="" id="{AD72E3F3-2E9C-9E42-8609-2A20C2AAD1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9997" y="3853646"/>
              <a:ext cx="306000" cy="306000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xmlns="" id="{9F475096-7ECD-CB4F-B598-D32051B08F9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96997" y="3713184"/>
              <a:ext cx="306000" cy="306000"/>
            </a:xfrm>
            <a:prstGeom prst="rect">
              <a:avLst/>
            </a:prstGeom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xmlns="" id="{ABC19591-E8AF-DC4F-B5CB-37F3D7924EF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90576" y="3001894"/>
              <a:ext cx="306000" cy="306000"/>
            </a:xfrm>
            <a:prstGeom prst="rect">
              <a:avLst/>
            </a:prstGeom>
          </p:spPr>
        </p:pic>
      </p:grpSp>
      <p:sp>
        <p:nvSpPr>
          <p:cNvPr id="49" name="Oval 48">
            <a:extLst>
              <a:ext uri="{FF2B5EF4-FFF2-40B4-BE49-F238E27FC236}">
                <a16:creationId xmlns:a16="http://schemas.microsoft.com/office/drawing/2014/main" xmlns="" id="{14280288-7669-A141-B5C2-FB282C62FAAA}"/>
              </a:ext>
            </a:extLst>
          </p:cNvPr>
          <p:cNvSpPr/>
          <p:nvPr/>
        </p:nvSpPr>
        <p:spPr>
          <a:xfrm>
            <a:off x="3534884" y="1336929"/>
            <a:ext cx="632668" cy="541496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nl-NL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PS1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xmlns="" id="{C6D060BA-A75E-EA4F-B83F-B8DBAE88262A}"/>
              </a:ext>
            </a:extLst>
          </p:cNvPr>
          <p:cNvCxnSpPr>
            <a:cxnSpLocks/>
            <a:stCxn id="49" idx="4"/>
            <a:endCxn id="3" idx="0"/>
          </p:cNvCxnSpPr>
          <p:nvPr/>
        </p:nvCxnSpPr>
        <p:spPr>
          <a:xfrm>
            <a:off x="3851218" y="1878425"/>
            <a:ext cx="0" cy="402347"/>
          </a:xfrm>
          <a:prstGeom prst="line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7C1ECA3B-BA06-4449-9B1D-3DCA67B2433D}"/>
              </a:ext>
            </a:extLst>
          </p:cNvPr>
          <p:cNvSpPr txBox="1"/>
          <p:nvPr/>
        </p:nvSpPr>
        <p:spPr>
          <a:xfrm>
            <a:off x="774602" y="4372697"/>
            <a:ext cx="16021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lobally distributed “swarm” of compromised IoT devices</a:t>
            </a: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xmlns="" id="{E29E9CF8-8C64-064B-BDEE-B7F375392795}"/>
              </a:ext>
            </a:extLst>
          </p:cNvPr>
          <p:cNvCxnSpPr>
            <a:cxnSpLocks/>
            <a:stCxn id="3" idx="3"/>
            <a:endCxn id="5" idx="0"/>
          </p:cNvCxnSpPr>
          <p:nvPr/>
        </p:nvCxnSpPr>
        <p:spPr>
          <a:xfrm>
            <a:off x="4346218" y="2550772"/>
            <a:ext cx="1104679" cy="665486"/>
          </a:xfrm>
          <a:prstGeom prst="curvedConnector2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4">
            <a:extLst>
              <a:ext uri="{FF2B5EF4-FFF2-40B4-BE49-F238E27FC236}">
                <a16:creationId xmlns:a16="http://schemas.microsoft.com/office/drawing/2014/main" xmlns="" id="{E3907DD5-8F46-0B42-9B99-03655D41222A}"/>
              </a:ext>
            </a:extLst>
          </p:cNvPr>
          <p:cNvCxnSpPr>
            <a:cxnSpLocks/>
            <a:stCxn id="32" idx="4"/>
            <a:endCxn id="39" idx="3"/>
          </p:cNvCxnSpPr>
          <p:nvPr/>
        </p:nvCxnSpPr>
        <p:spPr>
          <a:xfrm rot="5400000">
            <a:off x="4563877" y="3638900"/>
            <a:ext cx="669362" cy="1104679"/>
          </a:xfrm>
          <a:prstGeom prst="curvedConnector2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>
            <a:extLst>
              <a:ext uri="{FF2B5EF4-FFF2-40B4-BE49-F238E27FC236}">
                <a16:creationId xmlns:a16="http://schemas.microsoft.com/office/drawing/2014/main" xmlns="" id="{C6DA4779-FD59-1B47-8CEF-308A1013091B}"/>
              </a:ext>
            </a:extLst>
          </p:cNvPr>
          <p:cNvSpPr/>
          <p:nvPr/>
        </p:nvSpPr>
        <p:spPr>
          <a:xfrm>
            <a:off x="5267120" y="3216258"/>
            <a:ext cx="367553" cy="12386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xmlns="" id="{5ABEDF86-5AF6-754C-BBA9-00BA94472F35}"/>
              </a:ext>
            </a:extLst>
          </p:cNvPr>
          <p:cNvSpPr/>
          <p:nvPr/>
        </p:nvSpPr>
        <p:spPr>
          <a:xfrm>
            <a:off x="5267120" y="3732698"/>
            <a:ext cx="367553" cy="12386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FC58EBEC-E3A5-9B44-892B-A2AA3BB6CD4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904" y="3143134"/>
            <a:ext cx="954228" cy="7904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A2DCEAC7-582B-1642-833E-71A63FFF5C31}"/>
              </a:ext>
            </a:extLst>
          </p:cNvPr>
          <p:cNvSpPr txBox="1"/>
          <p:nvPr/>
        </p:nvSpPr>
        <p:spPr>
          <a:xfrm>
            <a:off x="5054882" y="3328463"/>
            <a:ext cx="7522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DoS radar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105F9DD4-ECE7-D94E-87E4-7672E644C8AC}"/>
              </a:ext>
            </a:extLst>
          </p:cNvPr>
          <p:cNvGrpSpPr/>
          <p:nvPr/>
        </p:nvGrpSpPr>
        <p:grpSpPr>
          <a:xfrm>
            <a:off x="3356218" y="4255920"/>
            <a:ext cx="990000" cy="1476125"/>
            <a:chOff x="3560620" y="4315295"/>
            <a:chExt cx="990000" cy="1476125"/>
          </a:xfrm>
        </p:grpSpPr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xmlns="" id="{6680DDE2-F9C0-9E46-8DD6-EE3F1CC2B54D}"/>
                </a:ext>
              </a:extLst>
            </p:cNvPr>
            <p:cNvCxnSpPr>
              <a:cxnSpLocks/>
              <a:stCxn id="40" idx="0"/>
              <a:endCxn id="39" idx="2"/>
            </p:cNvCxnSpPr>
            <p:nvPr/>
          </p:nvCxnSpPr>
          <p:spPr>
            <a:xfrm flipV="1">
              <a:off x="4055620" y="4855295"/>
              <a:ext cx="0" cy="394629"/>
            </a:xfrm>
            <a:prstGeom prst="line">
              <a:avLst/>
            </a:prstGeom>
            <a:ln w="38100">
              <a:solidFill>
                <a:schemeClr val="tx1">
                  <a:lumMod val="65000"/>
                  <a:lumOff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Rounded Rectangle 38">
              <a:extLst>
                <a:ext uri="{FF2B5EF4-FFF2-40B4-BE49-F238E27FC236}">
                  <a16:creationId xmlns:a16="http://schemas.microsoft.com/office/drawing/2014/main" xmlns="" id="{A1F132AD-B057-7D47-B704-A9F48D0386AF}"/>
                </a:ext>
              </a:extLst>
            </p:cNvPr>
            <p:cNvSpPr/>
            <p:nvPr/>
          </p:nvSpPr>
          <p:spPr>
            <a:xfrm>
              <a:off x="3560620" y="4315295"/>
              <a:ext cx="990000" cy="540000"/>
            </a:xfrm>
            <a:prstGeom prst="roundRect">
              <a:avLst>
                <a:gd name="adj" fmla="val 7678"/>
              </a:avLst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nl-NL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SP2</a:t>
              </a: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xmlns="" id="{D90A9500-CBA8-5E49-B80D-E87BC0ADC0BB}"/>
                </a:ext>
              </a:extLst>
            </p:cNvPr>
            <p:cNvSpPr/>
            <p:nvPr/>
          </p:nvSpPr>
          <p:spPr>
            <a:xfrm>
              <a:off x="3739286" y="5249924"/>
              <a:ext cx="632668" cy="54149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nl-NL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PS2</a:t>
              </a: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349C43E8-21CF-E041-A55E-6F6D847C8EB5}"/>
              </a:ext>
            </a:extLst>
          </p:cNvPr>
          <p:cNvSpPr txBox="1"/>
          <p:nvPr/>
        </p:nvSpPr>
        <p:spPr>
          <a:xfrm>
            <a:off x="3859772" y="1921861"/>
            <a:ext cx="17136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reate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fingerprint(A)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22AA2602-5544-4743-AE88-B0B2B48BB832}"/>
              </a:ext>
            </a:extLst>
          </p:cNvPr>
          <p:cNvSpPr txBox="1"/>
          <p:nvPr/>
        </p:nvSpPr>
        <p:spPr>
          <a:xfrm>
            <a:off x="4755919" y="2336225"/>
            <a:ext cx="15737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hare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fingerprint(A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4694DC79-8CD9-F848-8926-DE4036D207E9}"/>
              </a:ext>
            </a:extLst>
          </p:cNvPr>
          <p:cNvSpPr txBox="1"/>
          <p:nvPr/>
        </p:nvSpPr>
        <p:spPr>
          <a:xfrm>
            <a:off x="4755919" y="4470321"/>
            <a:ext cx="25169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se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fingerprint(A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NS anycast adapt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pdate traffic filt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dapt rules for DPS invocation</a:t>
            </a:r>
          </a:p>
        </p:txBody>
      </p:sp>
      <p:pic>
        <p:nvPicPr>
          <p:cNvPr id="9218" name="Picture 2" descr="X - Dr. Odd">
            <a:extLst>
              <a:ext uri="{FF2B5EF4-FFF2-40B4-BE49-F238E27FC236}">
                <a16:creationId xmlns:a16="http://schemas.microsoft.com/office/drawing/2014/main" xmlns="" id="{8895E20C-1C88-2446-995B-3D355DD67A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5152" y="4351323"/>
            <a:ext cx="293804" cy="293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39974DEC-E763-8A4F-92D7-75463811F60C}"/>
              </a:ext>
            </a:extLst>
          </p:cNvPr>
          <p:cNvSpPr txBox="1"/>
          <p:nvPr/>
        </p:nvSpPr>
        <p:spPr>
          <a:xfrm>
            <a:off x="1326299" y="1745999"/>
            <a:ext cx="14770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oT-powered DDoS attack A (rerouted to DPS1)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xmlns="" id="{D46ACCBD-E44A-374E-A912-C89D59B68D9E}"/>
              </a:ext>
            </a:extLst>
          </p:cNvPr>
          <p:cNvSpPr/>
          <p:nvPr/>
        </p:nvSpPr>
        <p:spPr>
          <a:xfrm>
            <a:off x="2671798" y="1687447"/>
            <a:ext cx="849600" cy="1031178"/>
          </a:xfrm>
          <a:custGeom>
            <a:avLst/>
            <a:gdLst>
              <a:gd name="connsiteX0" fmla="*/ 0 w 849600"/>
              <a:gd name="connsiteY0" fmla="*/ 1087200 h 1087200"/>
              <a:gd name="connsiteX1" fmla="*/ 288000 w 849600"/>
              <a:gd name="connsiteY1" fmla="*/ 374400 h 1087200"/>
              <a:gd name="connsiteX2" fmla="*/ 482400 w 849600"/>
              <a:gd name="connsiteY2" fmla="*/ 122400 h 1087200"/>
              <a:gd name="connsiteX3" fmla="*/ 849600 w 849600"/>
              <a:gd name="connsiteY3" fmla="*/ 0 h 108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600" h="1087200">
                <a:moveTo>
                  <a:pt x="0" y="1087200"/>
                </a:moveTo>
                <a:cubicBezTo>
                  <a:pt x="103800" y="811200"/>
                  <a:pt x="207600" y="535200"/>
                  <a:pt x="288000" y="374400"/>
                </a:cubicBezTo>
                <a:cubicBezTo>
                  <a:pt x="368400" y="213600"/>
                  <a:pt x="388800" y="184800"/>
                  <a:pt x="482400" y="122400"/>
                </a:cubicBezTo>
                <a:cubicBezTo>
                  <a:pt x="576000" y="60000"/>
                  <a:pt x="712800" y="30000"/>
                  <a:pt x="849600" y="0"/>
                </a:cubicBezTo>
              </a:path>
            </a:pathLst>
          </a:custGeom>
          <a:noFill/>
          <a:ln w="76200">
            <a:solidFill>
              <a:schemeClr val="tx1">
                <a:lumMod val="65000"/>
                <a:lumOff val="35000"/>
              </a:schemeClr>
            </a:solidFill>
            <a:prstDash val="sysDot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D8FCD0F8-8E40-FA41-AEDD-8FA09CFD5EBF}"/>
              </a:ext>
            </a:extLst>
          </p:cNvPr>
          <p:cNvSpPr txBox="1"/>
          <p:nvPr/>
        </p:nvSpPr>
        <p:spPr>
          <a:xfrm>
            <a:off x="7353288" y="3570104"/>
            <a:ext cx="9706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Public Internet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xmlns="" id="{22958F82-6295-1D44-8E78-CE88E292D4A6}"/>
              </a:ext>
            </a:extLst>
          </p:cNvPr>
          <p:cNvCxnSpPr>
            <a:cxnSpLocks/>
          </p:cNvCxnSpPr>
          <p:nvPr/>
        </p:nvCxnSpPr>
        <p:spPr>
          <a:xfrm flipH="1">
            <a:off x="5772929" y="3541359"/>
            <a:ext cx="756000" cy="0"/>
          </a:xfrm>
          <a:prstGeom prst="line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2D1283EF-D975-024C-BA96-966089B9ADD0}"/>
              </a:ext>
            </a:extLst>
          </p:cNvPr>
          <p:cNvSpPr txBox="1"/>
          <p:nvPr/>
        </p:nvSpPr>
        <p:spPr>
          <a:xfrm>
            <a:off x="5579465" y="3582192"/>
            <a:ext cx="11864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ther fingerprint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2D2134DB-125C-B646-A434-759729E7F177}"/>
              </a:ext>
            </a:extLst>
          </p:cNvPr>
          <p:cNvSpPr txBox="1"/>
          <p:nvPr/>
        </p:nvSpPr>
        <p:spPr>
          <a:xfrm>
            <a:off x="6461486" y="2764280"/>
            <a:ext cx="14946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oT honeypo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ooter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locator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34D57D1D-636F-794D-B24F-4F58C72581F8}"/>
              </a:ext>
            </a:extLst>
          </p:cNvPr>
          <p:cNvSpPr txBox="1"/>
          <p:nvPr/>
        </p:nvSpPr>
        <p:spPr>
          <a:xfrm>
            <a:off x="180953" y="6317156"/>
            <a:ext cx="52398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354013" algn="l"/>
                <a:tab pos="531813" algn="l"/>
              </a:tabLst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SP	= Critical Service Provider (e.g., a bank, ISP, or a registry)</a:t>
            </a:r>
          </a:p>
          <a:p>
            <a:pPr>
              <a:tabLst>
                <a:tab pos="354013" algn="l"/>
                <a:tab pos="531813" algn="l"/>
              </a:tabLst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PS	= DDoS Protection Service (e.g., </a:t>
            </a: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awas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or commercial such as Arbor)</a:t>
            </a:r>
          </a:p>
        </p:txBody>
      </p:sp>
      <p:sp>
        <p:nvSpPr>
          <p:cNvPr id="71" name="Rounded Rectangle 70">
            <a:extLst>
              <a:ext uri="{FF2B5EF4-FFF2-40B4-BE49-F238E27FC236}">
                <a16:creationId xmlns:a16="http://schemas.microsoft.com/office/drawing/2014/main" xmlns="" id="{5FDE2D91-B7B9-F149-8A80-ACDCE38C84A8}"/>
              </a:ext>
            </a:extLst>
          </p:cNvPr>
          <p:cNvSpPr/>
          <p:nvPr/>
        </p:nvSpPr>
        <p:spPr>
          <a:xfrm>
            <a:off x="6533463" y="3267342"/>
            <a:ext cx="990000" cy="540000"/>
          </a:xfrm>
          <a:prstGeom prst="roundRect">
            <a:avLst>
              <a:gd name="adj" fmla="val 7678"/>
            </a:avLst>
          </a:prstGeom>
          <a:solidFill>
            <a:schemeClr val="bg1"/>
          </a:solidFill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DoS sensors</a:t>
            </a:r>
          </a:p>
        </p:txBody>
      </p:sp>
    </p:spTree>
    <p:extLst>
      <p:ext uri="{BB962C8B-B14F-4D97-AF65-F5344CB8AC3E}">
        <p14:creationId xmlns:p14="http://schemas.microsoft.com/office/powerpoint/2010/main" val="3874463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gerprint</a:t>
            </a:r>
            <a:endParaRPr lang="en-US" sz="900" dirty="0"/>
          </a:p>
        </p:txBody>
      </p:sp>
      <p:sp>
        <p:nvSpPr>
          <p:cNvPr id="5" name="Tijdelijke aanduiding voor verticale tekst 4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lvl="2"/>
            <a:r>
              <a:rPr lang="en-US" dirty="0"/>
              <a:t>Summary of DDoS traffic</a:t>
            </a:r>
          </a:p>
          <a:p>
            <a:pPr lvl="3"/>
            <a:r>
              <a:rPr lang="en-US" dirty="0"/>
              <a:t>Domain names used</a:t>
            </a:r>
          </a:p>
          <a:p>
            <a:pPr lvl="3"/>
            <a:r>
              <a:rPr lang="en-US" dirty="0"/>
              <a:t>Source IP addresses</a:t>
            </a:r>
          </a:p>
          <a:p>
            <a:pPr lvl="3"/>
            <a:r>
              <a:rPr lang="en-US" dirty="0"/>
              <a:t>Protocol</a:t>
            </a:r>
          </a:p>
          <a:p>
            <a:pPr lvl="3"/>
            <a:r>
              <a:rPr lang="en-US" dirty="0"/>
              <a:t>Packet length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Created from traffic capture files like PCAPs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Victim IP addresses not part of fingerprint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Challenge: creation at high speed (10s of Gbps)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470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us and next steps</a:t>
            </a:r>
            <a:endParaRPr lang="en-US" sz="900" dirty="0"/>
          </a:p>
        </p:txBody>
      </p:sp>
      <p:sp>
        <p:nvSpPr>
          <p:cNvPr id="5" name="Tijdelijke aanduiding voor verticale tekst 4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lvl="2"/>
            <a:r>
              <a:rPr lang="en-US" dirty="0">
                <a:solidFill>
                  <a:srgbClr val="626465"/>
                </a:solidFill>
              </a:rPr>
              <a:t>DDoS radar embraced by broad coalition of 25 players from industry (ISPs, </a:t>
            </a:r>
            <a:r>
              <a:rPr lang="en-US" dirty="0" err="1">
                <a:solidFill>
                  <a:srgbClr val="626465"/>
                </a:solidFill>
              </a:rPr>
              <a:t>xSPs</a:t>
            </a:r>
            <a:r>
              <a:rPr lang="en-US" dirty="0">
                <a:solidFill>
                  <a:srgbClr val="626465"/>
                </a:solidFill>
              </a:rPr>
              <a:t>, IXPs, banks, not-for-profit DPS) and gov’t (ministries and agencies)</a:t>
            </a:r>
          </a:p>
          <a:p>
            <a:pPr lvl="2"/>
            <a:endParaRPr lang="en-US" dirty="0">
              <a:solidFill>
                <a:srgbClr val="626465"/>
              </a:solidFill>
            </a:endParaRPr>
          </a:p>
          <a:p>
            <a:pPr lvl="2"/>
            <a:r>
              <a:rPr lang="en-US" dirty="0">
                <a:solidFill>
                  <a:srgbClr val="626465"/>
                </a:solidFill>
              </a:rPr>
              <a:t>Dutch Continuity Board (DCB) acts as springboard, supported by Dutch National Cyber Security Center (NCSC-NL)</a:t>
            </a:r>
          </a:p>
          <a:p>
            <a:pPr lvl="2"/>
            <a:endParaRPr lang="en-US" dirty="0">
              <a:solidFill>
                <a:srgbClr val="626465"/>
              </a:solidFill>
            </a:endParaRPr>
          </a:p>
          <a:p>
            <a:pPr lvl="2"/>
            <a:r>
              <a:rPr lang="en-US" dirty="0">
                <a:solidFill>
                  <a:srgbClr val="626465"/>
                </a:solidFill>
              </a:rPr>
              <a:t>Develop DDoS radar based on existing components, such as</a:t>
            </a:r>
          </a:p>
          <a:p>
            <a:pPr lvl="3"/>
            <a:r>
              <a:rPr lang="en-US" dirty="0">
                <a:solidFill>
                  <a:srgbClr val="626465"/>
                </a:solidFill>
              </a:rPr>
              <a:t>DDoS-DB of the University of Twente (</a:t>
            </a:r>
            <a:r>
              <a:rPr lang="en-US" dirty="0" err="1">
                <a:solidFill>
                  <a:srgbClr val="626465"/>
                </a:solidFill>
              </a:rPr>
              <a:t>ddosdb.org</a:t>
            </a:r>
            <a:r>
              <a:rPr lang="en-US" dirty="0">
                <a:solidFill>
                  <a:srgbClr val="626465"/>
                </a:solidFill>
              </a:rPr>
              <a:t>) </a:t>
            </a:r>
          </a:p>
          <a:p>
            <a:pPr lvl="3"/>
            <a:r>
              <a:rPr lang="en-US" dirty="0" err="1">
                <a:solidFill>
                  <a:srgbClr val="626465"/>
                </a:solidFill>
              </a:rPr>
              <a:t>NaWas</a:t>
            </a:r>
            <a:r>
              <a:rPr lang="en-US" dirty="0">
                <a:solidFill>
                  <a:srgbClr val="626465"/>
                </a:solidFill>
              </a:rPr>
              <a:t>’ DDoS pattern recognition system (</a:t>
            </a:r>
            <a:r>
              <a:rPr lang="en-US" dirty="0" err="1">
                <a:solidFill>
                  <a:srgbClr val="626465"/>
                </a:solidFill>
              </a:rPr>
              <a:t>ddos-patterns.net</a:t>
            </a:r>
            <a:r>
              <a:rPr lang="en-US" dirty="0">
                <a:solidFill>
                  <a:srgbClr val="626465"/>
                </a:solidFill>
              </a:rPr>
              <a:t>)</a:t>
            </a:r>
          </a:p>
          <a:p>
            <a:pPr lvl="2"/>
            <a:endParaRPr lang="en-US" dirty="0">
              <a:solidFill>
                <a:srgbClr val="626465"/>
              </a:solidFill>
            </a:endParaRPr>
          </a:p>
          <a:p>
            <a:pPr lvl="2"/>
            <a:r>
              <a:rPr lang="en-US" dirty="0">
                <a:solidFill>
                  <a:srgbClr val="626465"/>
                </a:solidFill>
              </a:rPr>
              <a:t>Working groups: (1) clearing house, (2) cross-industry information sharing, (3) outreach, (4) ground rules and incident response, and (5) exercises </a:t>
            </a:r>
          </a:p>
          <a:p>
            <a:pPr lvl="3"/>
            <a:endParaRPr lang="en-US" dirty="0">
              <a:solidFill>
                <a:srgbClr val="626465"/>
              </a:solidFill>
            </a:endParaRPr>
          </a:p>
          <a:p>
            <a:pPr lvl="2"/>
            <a:endParaRPr lang="en-US" dirty="0">
              <a:solidFill>
                <a:srgbClr val="626465"/>
              </a:solidFill>
            </a:endParaRPr>
          </a:p>
          <a:p>
            <a:pPr lvl="2"/>
            <a:endParaRPr lang="en-US" dirty="0">
              <a:solidFill>
                <a:srgbClr val="6264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0886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9aab7fab855238e1f637c6cf2a909b658fb1e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DN_2016_ENG">
  <a:themeElements>
    <a:clrScheme name="SIDN">
      <a:dk1>
        <a:sysClr val="windowText" lastClr="000000"/>
      </a:dk1>
      <a:lt1>
        <a:sysClr val="window" lastClr="FFFFFF"/>
      </a:lt1>
      <a:dk2>
        <a:srgbClr val="002154"/>
      </a:dk2>
      <a:lt2>
        <a:srgbClr val="0062A9"/>
      </a:lt2>
      <a:accent1>
        <a:srgbClr val="642180"/>
      </a:accent1>
      <a:accent2>
        <a:srgbClr val="1CAACB"/>
      </a:accent2>
      <a:accent3>
        <a:srgbClr val="219550"/>
      </a:accent3>
      <a:accent4>
        <a:srgbClr val="F15936"/>
      </a:accent4>
      <a:accent5>
        <a:srgbClr val="003368"/>
      </a:accent5>
      <a:accent6>
        <a:srgbClr val="00B9B6"/>
      </a:accent6>
      <a:hlink>
        <a:srgbClr val="0062A9"/>
      </a:hlink>
      <a:folHlink>
        <a:srgbClr val="0062A9"/>
      </a:folHlink>
    </a:clrScheme>
    <a:fontScheme name="SIDN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D695F19E6E06F479F6F871C96F00953" ma:contentTypeVersion="0" ma:contentTypeDescription="Create a new document." ma:contentTypeScope="" ma:versionID="541adfdda6b1f51a6fc5522ac76ff18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41b0c14c36b61d5d482d8a2e1322cb4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880955A-0F5D-441A-8BF7-BA6FF53D203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052E88D-4ACD-465D-B5CE-952560C0357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9BD5B16-ABEC-4550-896A-70F710BE27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99</TotalTime>
  <Words>701</Words>
  <Application>Microsoft Macintosh PowerPoint</Application>
  <PresentationFormat>On-screen Show (4:3)</PresentationFormat>
  <Paragraphs>129</Paragraphs>
  <Slides>11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SIDN_2016_ENG</vt:lpstr>
      <vt:lpstr>think-cell Slide</vt:lpstr>
      <vt:lpstr>A proactive and collaborative DDoS mitigation strategy for the Dutch critical infrastructure</vt:lpstr>
      <vt:lpstr>Aiko Pras</vt:lpstr>
      <vt:lpstr>DDoS attacks (on the DNS)</vt:lpstr>
      <vt:lpstr>DDoS trends</vt:lpstr>
      <vt:lpstr>The Netherlands</vt:lpstr>
      <vt:lpstr>A proactive and collaborative strategy</vt:lpstr>
      <vt:lpstr>DDoS radar (IoT example)</vt:lpstr>
      <vt:lpstr>Fingerprint</vt:lpstr>
      <vt:lpstr>Status and next steps</vt:lpstr>
      <vt:lpstr>Longer-term</vt:lpstr>
      <vt:lpstr>Q&amp;A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robbert@pptdesign.nl</dc:creator>
  <cp:lastModifiedBy>Aiko Pras</cp:lastModifiedBy>
  <cp:revision>548</cp:revision>
  <dcterms:created xsi:type="dcterms:W3CDTF">2016-02-09T09:55:56Z</dcterms:created>
  <dcterms:modified xsi:type="dcterms:W3CDTF">2018-09-24T14:48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MyDocuments">
    <vt:bool>true</vt:bool>
  </property>
  <property fmtid="{D5CDD505-2E9C-101B-9397-08002B2CF9AE}" pid="3" name="ContentTypeId">
    <vt:lpwstr>0x0101005D695F19E6E06F479F6F871C96F00953</vt:lpwstr>
  </property>
</Properties>
</file>